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charts/chart8.xml" ContentType="application/vnd.openxmlformats-officedocument.drawingml.chart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0"/>
  </p:notesMasterIdLst>
  <p:sldIdLst>
    <p:sldId id="263" r:id="rId2"/>
    <p:sldId id="295" r:id="rId3"/>
    <p:sldId id="294" r:id="rId4"/>
    <p:sldId id="264" r:id="rId5"/>
    <p:sldId id="297" r:id="rId6"/>
    <p:sldId id="277" r:id="rId7"/>
    <p:sldId id="301" r:id="rId8"/>
    <p:sldId id="302" r:id="rId9"/>
    <p:sldId id="303" r:id="rId10"/>
    <p:sldId id="278" r:id="rId11"/>
    <p:sldId id="311" r:id="rId12"/>
    <p:sldId id="279" r:id="rId13"/>
    <p:sldId id="313" r:id="rId14"/>
    <p:sldId id="280" r:id="rId15"/>
    <p:sldId id="314" r:id="rId16"/>
    <p:sldId id="258" r:id="rId17"/>
    <p:sldId id="259" r:id="rId18"/>
    <p:sldId id="257" r:id="rId19"/>
  </p:sldIdLst>
  <p:sldSz cx="9144000" cy="6858000" type="screen4x3"/>
  <p:notesSz cx="6797675" cy="9926638"/>
  <p:defaultTextStyle>
    <a:defPPr>
      <a:defRPr lang="el-GR"/>
    </a:defPPr>
    <a:lvl1pPr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CC"/>
    <a:srgbClr val="FF9933"/>
    <a:srgbClr val="00FFFF"/>
    <a:srgbClr val="CCFF99"/>
    <a:srgbClr val="FFCC00"/>
    <a:srgbClr val="FFCC66"/>
    <a:srgbClr val="003399"/>
    <a:srgbClr val="99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24" autoAdjust="0"/>
    <p:restoredTop sz="94660"/>
  </p:normalViewPr>
  <p:slideViewPr>
    <p:cSldViewPr>
      <p:cViewPr varScale="1">
        <p:scale>
          <a:sx n="115" d="100"/>
          <a:sy n="115" d="100"/>
        </p:scale>
        <p:origin x="1884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35" d="100"/>
          <a:sy n="35" d="100"/>
        </p:scale>
        <p:origin x="-1524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7.xlsb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46296296296295E-2"/>
          <c:y val="9.3227091633466139E-2"/>
          <c:w val="0.96990740740740744"/>
          <c:h val="0.8135458167330676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6464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44E-4706-B723-645CC0A45E22}"/>
                </c:ext>
              </c:extLst>
            </c:dLbl>
            <c:dLbl>
              <c:idx val="2"/>
              <c:layout>
                <c:manualLayout>
                  <c:x val="-1.7650432584815787E-2"/>
                  <c:y val="7.702274208724850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44E-4706-B723-645CC0A45E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</c:v>
                </c:pt>
                <c:pt idx="1">
                  <c:v>10165</c:v>
                </c:pt>
                <c:pt idx="2">
                  <c:v>3455</c:v>
                </c:pt>
                <c:pt idx="3">
                  <c:v>11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4E-4706-B723-645CC0A45E22}"/>
            </c:ext>
          </c:extLst>
        </c:ser>
        <c:ser>
          <c:idx val="1"/>
          <c:order val="1"/>
          <c:spPr>
            <a:solidFill>
              <a:srgbClr val="00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7.5231481481481483E-2"/>
                  <c:y val="-0.102788844621513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44E-4706-B723-645CC0A45E2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44E-4706-B723-645CC0A45E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85</c:v>
                </c:pt>
                <c:pt idx="1">
                  <c:v>11960</c:v>
                </c:pt>
                <c:pt idx="2">
                  <c:v>654</c:v>
                </c:pt>
                <c:pt idx="3">
                  <c:v>2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44E-4706-B723-645CC0A45E22}"/>
            </c:ext>
          </c:extLst>
        </c:ser>
        <c:ser>
          <c:idx val="2"/>
          <c:order val="2"/>
          <c:spPr>
            <a:solidFill>
              <a:srgbClr val="DB536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126</c:v>
                </c:pt>
                <c:pt idx="1">
                  <c:v>2204</c:v>
                </c:pt>
                <c:pt idx="2">
                  <c:v>129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44E-4706-B723-645CC0A45E22}"/>
            </c:ext>
          </c:extLst>
        </c:ser>
        <c:ser>
          <c:idx val="3"/>
          <c:order val="3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44E-4706-B723-645CC0A45E2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44E-4706-B723-645CC0A45E22}"/>
                </c:ext>
              </c:extLst>
            </c:dLbl>
            <c:dLbl>
              <c:idx val="2"/>
              <c:layout>
                <c:manualLayout>
                  <c:x val="7.5231481481481483E-2"/>
                  <c:y val="-7.9681274900398409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44E-4706-B723-645CC0A45E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5671</c:v>
                </c:pt>
                <c:pt idx="1">
                  <c:v>11431</c:v>
                </c:pt>
                <c:pt idx="2">
                  <c:v>455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44E-4706-B723-645CC0A45E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075651760"/>
        <c:axId val="-1725946016"/>
      </c:barChart>
      <c:catAx>
        <c:axId val="-20756517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46016"/>
        <c:crosses val="min"/>
        <c:auto val="0"/>
        <c:lblAlgn val="ctr"/>
        <c:lblOffset val="100"/>
        <c:noMultiLvlLbl val="0"/>
      </c:catAx>
      <c:valAx>
        <c:axId val="-1725946016"/>
        <c:scaling>
          <c:orientation val="minMax"/>
          <c:max val="357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2075651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046296296296295E-2"/>
          <c:y val="0.14320685434516525"/>
          <c:w val="0.96990740740740744"/>
          <c:h val="0.713586291309669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46464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7FC-4051-AE2B-28CFE163B512}"/>
                </c:ext>
              </c:extLst>
            </c:dLbl>
            <c:dLbl>
              <c:idx val="2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7FC-4051-AE2B-28CFE163B5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4</c:v>
                </c:pt>
                <c:pt idx="1">
                  <c:v>3311</c:v>
                </c:pt>
                <c:pt idx="2">
                  <c:v>6707</c:v>
                </c:pt>
                <c:pt idx="3">
                  <c:v>12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FC-4051-AE2B-28CFE163B512}"/>
            </c:ext>
          </c:extLst>
        </c:ser>
        <c:ser>
          <c:idx val="1"/>
          <c:order val="1"/>
          <c:spPr>
            <a:solidFill>
              <a:srgbClr val="0000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>
                          <a:lumMod val="9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7FC-4051-AE2B-28CFE163B512}"/>
                </c:ext>
              </c:extLst>
            </c:dLbl>
            <c:dLbl>
              <c:idx val="2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7FC-4051-AE2B-28CFE163B5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7</c:v>
                </c:pt>
                <c:pt idx="1">
                  <c:v>5782</c:v>
                </c:pt>
                <c:pt idx="2">
                  <c:v>5099</c:v>
                </c:pt>
                <c:pt idx="3">
                  <c:v>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7FC-4051-AE2B-28CFE163B512}"/>
            </c:ext>
          </c:extLst>
        </c:ser>
        <c:ser>
          <c:idx val="2"/>
          <c:order val="2"/>
          <c:spPr>
            <a:solidFill>
              <a:srgbClr val="DB536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3.671970624235006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7FC-4051-AE2B-28CFE163B512}"/>
                </c:ext>
              </c:extLst>
            </c:dLbl>
            <c:dLbl>
              <c:idx val="2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7FC-4051-AE2B-28CFE163B512}"/>
                </c:ext>
              </c:extLst>
            </c:dLbl>
            <c:dLbl>
              <c:idx val="3"/>
              <c:layout>
                <c:manualLayout>
                  <c:x val="8.8541666666666671E-2"/>
                  <c:y val="1.223990208078335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7FC-4051-AE2B-28CFE163B5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>
                  <c:v>37</c:v>
                </c:pt>
                <c:pt idx="1">
                  <c:v>5900</c:v>
                </c:pt>
                <c:pt idx="2">
                  <c:v>3756</c:v>
                </c:pt>
                <c:pt idx="3">
                  <c:v>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7FC-4051-AE2B-28CFE163B512}"/>
            </c:ext>
          </c:extLst>
        </c:ser>
        <c:ser>
          <c:idx val="3"/>
          <c:order val="3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7FC-4051-AE2B-28CFE163B512}"/>
                </c:ext>
              </c:extLst>
            </c:dLbl>
            <c:dLbl>
              <c:idx val="2"/>
              <c:layout>
                <c:manualLayout>
                  <c:x val="0"/>
                  <c:y val="-2.447980416156670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7FC-4051-AE2B-28CFE163B51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D$4</c:f>
              <c:numCache>
                <c:formatCode>General</c:formatCode>
                <c:ptCount val="4"/>
                <c:pt idx="0">
                  <c:v>1025</c:v>
                </c:pt>
                <c:pt idx="1">
                  <c:v>6937</c:v>
                </c:pt>
                <c:pt idx="2">
                  <c:v>2332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FC-4051-AE2B-28CFE163B5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45472"/>
        <c:axId val="-1725939488"/>
      </c:barChart>
      <c:catAx>
        <c:axId val="-1725945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39488"/>
        <c:crosses val="min"/>
        <c:auto val="0"/>
        <c:lblAlgn val="ctr"/>
        <c:lblOffset val="100"/>
        <c:noMultiLvlLbl val="0"/>
      </c:catAx>
      <c:valAx>
        <c:axId val="-1725939488"/>
        <c:scaling>
          <c:orientation val="minMax"/>
          <c:max val="219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45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91007845503924E-2"/>
          <c:y val="0.14154103852596314"/>
          <c:w val="0.96861798430899215"/>
          <c:h val="0.760469011725293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23785594639865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AB-4A24-9B72-84DBA48B0160}"/>
                </c:ext>
              </c:extLst>
            </c:dLbl>
            <c:dLbl>
              <c:idx val="1"/>
              <c:layout>
                <c:manualLayout>
                  <c:x val="0"/>
                  <c:y val="-0.423785594639865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AB-4A24-9B72-84DBA48B0160}"/>
                </c:ext>
              </c:extLst>
            </c:dLbl>
            <c:dLbl>
              <c:idx val="2"/>
              <c:layout>
                <c:manualLayout>
                  <c:x val="0"/>
                  <c:y val="-0.423785594639865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AB-4A24-9B72-84DBA48B0160}"/>
                </c:ext>
              </c:extLst>
            </c:dLbl>
            <c:dLbl>
              <c:idx val="3"/>
              <c:layout>
                <c:manualLayout>
                  <c:x val="0"/>
                  <c:y val="-0.42462311557788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AB-4A24-9B72-84DBA48B0160}"/>
                </c:ext>
              </c:extLst>
            </c:dLbl>
            <c:dLbl>
              <c:idx val="4"/>
              <c:layout>
                <c:manualLayout>
                  <c:x val="0"/>
                  <c:y val="-0.42462311557788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9AB-4A24-9B72-84DBA48B0160}"/>
                </c:ext>
              </c:extLst>
            </c:dLbl>
            <c:dLbl>
              <c:idx val="5"/>
              <c:layout>
                <c:manualLayout>
                  <c:x val="0"/>
                  <c:y val="-0.42462311557788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9AB-4A24-9B72-84DBA48B0160}"/>
                </c:ext>
              </c:extLst>
            </c:dLbl>
            <c:dLbl>
              <c:idx val="6"/>
              <c:layout>
                <c:manualLayout>
                  <c:x val="0"/>
                  <c:y val="-0.42462311557788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9AB-4A24-9B72-84DBA48B0160}"/>
                </c:ext>
              </c:extLst>
            </c:dLbl>
            <c:dLbl>
              <c:idx val="7"/>
              <c:layout>
                <c:manualLayout>
                  <c:x val="0"/>
                  <c:y val="-0.424623115577889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9AB-4A24-9B72-84DBA48B01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47559</c:v>
                </c:pt>
                <c:pt idx="1">
                  <c:v>47565</c:v>
                </c:pt>
                <c:pt idx="2">
                  <c:v>47565</c:v>
                </c:pt>
                <c:pt idx="3">
                  <c:v>47593</c:v>
                </c:pt>
                <c:pt idx="4">
                  <c:v>47594</c:v>
                </c:pt>
                <c:pt idx="5">
                  <c:v>47594</c:v>
                </c:pt>
                <c:pt idx="6">
                  <c:v>47594</c:v>
                </c:pt>
                <c:pt idx="7">
                  <c:v>475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9AB-4A24-9B72-84DBA48B01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47104"/>
        <c:axId val="-1725938944"/>
      </c:barChart>
      <c:catAx>
        <c:axId val="-1725947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38944"/>
        <c:crosses val="min"/>
        <c:auto val="0"/>
        <c:lblAlgn val="ctr"/>
        <c:lblOffset val="100"/>
        <c:noMultiLvlLbl val="0"/>
      </c:catAx>
      <c:valAx>
        <c:axId val="-1725938944"/>
        <c:scaling>
          <c:orientation val="minMax"/>
          <c:max val="475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47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91007845503924E-2"/>
          <c:y val="0.2028811524609844"/>
          <c:w val="0.96861798430899215"/>
          <c:h val="0.656662665066026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73349339735894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7FE-4C28-AE7C-F6B7613C5B32}"/>
                </c:ext>
              </c:extLst>
            </c:dLbl>
            <c:dLbl>
              <c:idx val="1"/>
              <c:layout>
                <c:manualLayout>
                  <c:x val="0"/>
                  <c:y val="-0.379351740696278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FE-4C28-AE7C-F6B7613C5B32}"/>
                </c:ext>
              </c:extLst>
            </c:dLbl>
            <c:dLbl>
              <c:idx val="2"/>
              <c:layout>
                <c:manualLayout>
                  <c:x val="0"/>
                  <c:y val="-0.385354141656662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FE-4C28-AE7C-F6B7613C5B32}"/>
                </c:ext>
              </c:extLst>
            </c:dLbl>
            <c:dLbl>
              <c:idx val="3"/>
              <c:layout>
                <c:manualLayout>
                  <c:x val="0"/>
                  <c:y val="-0.386554621848739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FE-4C28-AE7C-F6B7613C5B32}"/>
                </c:ext>
              </c:extLst>
            </c:dLbl>
            <c:dLbl>
              <c:idx val="4"/>
              <c:layout>
                <c:manualLayout>
                  <c:x val="0"/>
                  <c:y val="-0.387755102040816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7FE-4C28-AE7C-F6B7613C5B32}"/>
                </c:ext>
              </c:extLst>
            </c:dLbl>
            <c:dLbl>
              <c:idx val="5"/>
              <c:layout>
                <c:manualLayout>
                  <c:x val="0"/>
                  <c:y val="-0.388955582232893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FE-4C28-AE7C-F6B7613C5B32}"/>
                </c:ext>
              </c:extLst>
            </c:dLbl>
            <c:dLbl>
              <c:idx val="6"/>
              <c:layout>
                <c:manualLayout>
                  <c:x val="0"/>
                  <c:y val="-0.388955582232893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FE-4C28-AE7C-F6B7613C5B32}"/>
                </c:ext>
              </c:extLst>
            </c:dLbl>
            <c:dLbl>
              <c:idx val="7"/>
              <c:layout>
                <c:manualLayout>
                  <c:x val="0"/>
                  <c:y val="-0.392557022809123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7FE-4C28-AE7C-F6B7613C5B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40678</c:v>
                </c:pt>
                <c:pt idx="1">
                  <c:v>41541</c:v>
                </c:pt>
                <c:pt idx="2">
                  <c:v>42218</c:v>
                </c:pt>
                <c:pt idx="3">
                  <c:v>42367</c:v>
                </c:pt>
                <c:pt idx="4">
                  <c:v>42565</c:v>
                </c:pt>
                <c:pt idx="5">
                  <c:v>42706</c:v>
                </c:pt>
                <c:pt idx="6">
                  <c:v>42750</c:v>
                </c:pt>
                <c:pt idx="7">
                  <c:v>43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7FE-4C28-AE7C-F6B7613C5B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37856"/>
        <c:axId val="-1725942208"/>
      </c:barChart>
      <c:catAx>
        <c:axId val="-17259378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 b="1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42208"/>
        <c:crosses val="min"/>
        <c:auto val="0"/>
        <c:lblAlgn val="ctr"/>
        <c:lblOffset val="100"/>
        <c:noMultiLvlLbl val="0"/>
      </c:catAx>
      <c:valAx>
        <c:axId val="-1725942208"/>
        <c:scaling>
          <c:orientation val="minMax"/>
          <c:max val="431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378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002948195984834E-3"/>
          <c:y val="0.32854864433811803"/>
          <c:w val="0.98539941036080303"/>
          <c:h val="0.4449760765550239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31259968102073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AE2-445B-BC9E-B3B7DA89F514}"/>
                </c:ext>
              </c:extLst>
            </c:dLbl>
            <c:dLbl>
              <c:idx val="1"/>
              <c:layout>
                <c:manualLayout>
                  <c:x val="0"/>
                  <c:y val="-0.2663476874003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AE2-445B-BC9E-B3B7DA89F514}"/>
                </c:ext>
              </c:extLst>
            </c:dLbl>
            <c:dLbl>
              <c:idx val="2"/>
              <c:layout>
                <c:manualLayout>
                  <c:x val="0"/>
                  <c:y val="-0.312599681020733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AE2-445B-BC9E-B3B7DA89F514}"/>
                </c:ext>
              </c:extLst>
            </c:dLbl>
            <c:dLbl>
              <c:idx val="3"/>
              <c:layout>
                <c:manualLayout>
                  <c:x val="0"/>
                  <c:y val="-0.325358851674641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AE2-445B-BC9E-B3B7DA89F514}"/>
                </c:ext>
              </c:extLst>
            </c:dLbl>
            <c:dLbl>
              <c:idx val="4"/>
              <c:layout>
                <c:manualLayout>
                  <c:x val="0"/>
                  <c:y val="-0.2918660287081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AE2-445B-BC9E-B3B7DA89F514}"/>
                </c:ext>
              </c:extLst>
            </c:dLbl>
            <c:dLbl>
              <c:idx val="5"/>
              <c:layout>
                <c:manualLayout>
                  <c:x val="0"/>
                  <c:y val="-0.245614035087719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AE2-445B-BC9E-B3B7DA89F514}"/>
                </c:ext>
              </c:extLst>
            </c:dLbl>
            <c:dLbl>
              <c:idx val="6"/>
              <c:layout>
                <c:manualLayout>
                  <c:x val="0"/>
                  <c:y val="-0.285486443381180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AE2-445B-BC9E-B3B7DA89F514}"/>
                </c:ext>
              </c:extLst>
            </c:dLbl>
            <c:dLbl>
              <c:idx val="7"/>
              <c:layout>
                <c:manualLayout>
                  <c:x val="0"/>
                  <c:y val="-0.239234449760765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AE2-445B-BC9E-B3B7DA89F514}"/>
                </c:ext>
              </c:extLst>
            </c:dLbl>
            <c:dLbl>
              <c:idx val="8"/>
              <c:layout>
                <c:manualLayout>
                  <c:x val="0"/>
                  <c:y val="-0.245614035087719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AE2-445B-BC9E-B3B7DA89F51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2229</c:v>
                </c:pt>
                <c:pt idx="1">
                  <c:v>2803</c:v>
                </c:pt>
                <c:pt idx="2">
                  <c:v>3577</c:v>
                </c:pt>
                <c:pt idx="3">
                  <c:v>3797</c:v>
                </c:pt>
                <c:pt idx="4">
                  <c:v>3223</c:v>
                </c:pt>
                <c:pt idx="5">
                  <c:v>2439</c:v>
                </c:pt>
                <c:pt idx="6">
                  <c:v>3129</c:v>
                </c:pt>
                <c:pt idx="7">
                  <c:v>2329</c:v>
                </c:pt>
                <c:pt idx="8">
                  <c:v>24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AE2-445B-BC9E-B3B7DA89F5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48192"/>
        <c:axId val="-1725946560"/>
      </c:barChart>
      <c:catAx>
        <c:axId val="-1725948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j-lt"/>
                <a:ea typeface="+mn-ea"/>
                <a:cs typeface="+mn-cs"/>
              </a:defRPr>
            </a:pPr>
            <a:endParaRPr lang="el-GR"/>
          </a:p>
        </c:txPr>
        <c:crossAx val="-1725946560"/>
        <c:crosses val="min"/>
        <c:auto val="0"/>
        <c:lblAlgn val="ctr"/>
        <c:lblOffset val="100"/>
        <c:noMultiLvlLbl val="0"/>
      </c:catAx>
      <c:valAx>
        <c:axId val="-1725946560"/>
        <c:scaling>
          <c:orientation val="minMax"/>
          <c:max val="37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48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262367982212344E-3"/>
          <c:y val="1.9809523809523808E-2"/>
          <c:w val="0.98554752640355758"/>
          <c:h val="0.960380952380952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EDED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3814</c:v>
                </c:pt>
                <c:pt idx="1">
                  <c:v>3953</c:v>
                </c:pt>
                <c:pt idx="2">
                  <c:v>4132</c:v>
                </c:pt>
                <c:pt idx="3">
                  <c:v>4340</c:v>
                </c:pt>
                <c:pt idx="4">
                  <c:v>4463</c:v>
                </c:pt>
                <c:pt idx="5">
                  <c:v>4664</c:v>
                </c:pt>
                <c:pt idx="6">
                  <c:v>4887</c:v>
                </c:pt>
                <c:pt idx="7">
                  <c:v>4973</c:v>
                </c:pt>
                <c:pt idx="8">
                  <c:v>5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45-4B82-969F-9A653200E239}"/>
            </c:ext>
          </c:extLst>
        </c:ser>
        <c:ser>
          <c:idx val="1"/>
          <c:order val="1"/>
          <c:spPr>
            <a:solidFill>
              <a:srgbClr val="7D7D7D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50</c:v>
                </c:pt>
                <c:pt idx="1">
                  <c:v>58</c:v>
                </c:pt>
                <c:pt idx="2">
                  <c:v>59</c:v>
                </c:pt>
                <c:pt idx="3">
                  <c:v>61</c:v>
                </c:pt>
                <c:pt idx="4">
                  <c:v>80</c:v>
                </c:pt>
                <c:pt idx="5">
                  <c:v>82</c:v>
                </c:pt>
                <c:pt idx="6">
                  <c:v>84</c:v>
                </c:pt>
                <c:pt idx="7">
                  <c:v>78</c:v>
                </c:pt>
                <c:pt idx="8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45-4B82-969F-9A653200E239}"/>
            </c:ext>
          </c:extLst>
        </c:ser>
        <c:ser>
          <c:idx val="2"/>
          <c:order val="2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2693</c:v>
                </c:pt>
                <c:pt idx="1">
                  <c:v>2820</c:v>
                </c:pt>
                <c:pt idx="2">
                  <c:v>2931</c:v>
                </c:pt>
                <c:pt idx="3">
                  <c:v>3104</c:v>
                </c:pt>
                <c:pt idx="4">
                  <c:v>3192</c:v>
                </c:pt>
                <c:pt idx="5">
                  <c:v>3309</c:v>
                </c:pt>
                <c:pt idx="6">
                  <c:v>3490</c:v>
                </c:pt>
                <c:pt idx="7">
                  <c:v>3571</c:v>
                </c:pt>
                <c:pt idx="8">
                  <c:v>3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45-4B82-969F-9A653200E2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49824"/>
        <c:axId val="-1725937312"/>
      </c:barChart>
      <c:catAx>
        <c:axId val="-17259498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77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37312"/>
        <c:crosses val="min"/>
        <c:auto val="0"/>
        <c:lblAlgn val="ctr"/>
        <c:lblOffset val="100"/>
        <c:noMultiLvlLbl val="0"/>
      </c:catAx>
      <c:valAx>
        <c:axId val="-1725937312"/>
        <c:scaling>
          <c:orientation val="minMax"/>
          <c:max val="89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498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262367982212344E-3"/>
          <c:y val="2.0850040096230954E-2"/>
          <c:w val="0.98554752640355758"/>
          <c:h val="0.958299919807538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EDED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26164</c:v>
                </c:pt>
                <c:pt idx="1">
                  <c:v>26734</c:v>
                </c:pt>
                <c:pt idx="2">
                  <c:v>27123</c:v>
                </c:pt>
                <c:pt idx="3">
                  <c:v>27456</c:v>
                </c:pt>
                <c:pt idx="4">
                  <c:v>27605</c:v>
                </c:pt>
                <c:pt idx="5">
                  <c:v>27814</c:v>
                </c:pt>
                <c:pt idx="6">
                  <c:v>28015</c:v>
                </c:pt>
                <c:pt idx="7">
                  <c:v>28105</c:v>
                </c:pt>
                <c:pt idx="8">
                  <c:v>283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8E-42F3-806E-EA1825C88217}"/>
            </c:ext>
          </c:extLst>
        </c:ser>
        <c:ser>
          <c:idx val="1"/>
          <c:order val="1"/>
          <c:spPr>
            <a:solidFill>
              <a:srgbClr val="7D7D7D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28091</c:v>
                </c:pt>
                <c:pt idx="1">
                  <c:v>29723</c:v>
                </c:pt>
                <c:pt idx="2">
                  <c:v>30713</c:v>
                </c:pt>
                <c:pt idx="3">
                  <c:v>31778</c:v>
                </c:pt>
                <c:pt idx="4">
                  <c:v>32480</c:v>
                </c:pt>
                <c:pt idx="5">
                  <c:v>33138</c:v>
                </c:pt>
                <c:pt idx="6">
                  <c:v>34132</c:v>
                </c:pt>
                <c:pt idx="7">
                  <c:v>34478</c:v>
                </c:pt>
                <c:pt idx="8">
                  <c:v>356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8E-42F3-806E-EA1825C88217}"/>
            </c:ext>
          </c:extLst>
        </c:ser>
        <c:ser>
          <c:idx val="2"/>
          <c:order val="2"/>
          <c:spPr>
            <a:solidFill>
              <a:srgbClr val="A3202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3401</c:v>
                </c:pt>
                <c:pt idx="1">
                  <c:v>4059</c:v>
                </c:pt>
                <c:pt idx="2">
                  <c:v>5080</c:v>
                </c:pt>
                <c:pt idx="3">
                  <c:v>6093</c:v>
                </c:pt>
                <c:pt idx="4">
                  <c:v>6968</c:v>
                </c:pt>
                <c:pt idx="5">
                  <c:v>7889</c:v>
                </c:pt>
                <c:pt idx="6">
                  <c:v>8936</c:v>
                </c:pt>
                <c:pt idx="7">
                  <c:v>9678</c:v>
                </c:pt>
                <c:pt idx="8">
                  <c:v>103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48E-42F3-806E-EA1825C88217}"/>
            </c:ext>
          </c:extLst>
        </c:ser>
        <c:ser>
          <c:idx val="3"/>
          <c:order val="3"/>
          <c:spPr>
            <a:solidFill>
              <a:srgbClr val="E0616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I$4</c:f>
              <c:numCache>
                <c:formatCode>General</c:formatCode>
                <c:ptCount val="9"/>
                <c:pt idx="0">
                  <c:v>5151</c:v>
                </c:pt>
                <c:pt idx="1">
                  <c:v>5151</c:v>
                </c:pt>
                <c:pt idx="2">
                  <c:v>5151</c:v>
                </c:pt>
                <c:pt idx="3">
                  <c:v>5151</c:v>
                </c:pt>
                <c:pt idx="4">
                  <c:v>5151</c:v>
                </c:pt>
                <c:pt idx="5">
                  <c:v>5151</c:v>
                </c:pt>
                <c:pt idx="6">
                  <c:v>5151</c:v>
                </c:pt>
                <c:pt idx="7">
                  <c:v>5151</c:v>
                </c:pt>
                <c:pt idx="8">
                  <c:v>5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8E-42F3-806E-EA1825C88217}"/>
            </c:ext>
          </c:extLst>
        </c:ser>
        <c:ser>
          <c:idx val="4"/>
          <c:order val="4"/>
          <c:spPr>
            <a:solidFill>
              <a:srgbClr val="EB8C0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I$5</c:f>
              <c:numCache>
                <c:formatCode>General</c:formatCode>
                <c:ptCount val="9"/>
                <c:pt idx="0">
                  <c:v>3884</c:v>
                </c:pt>
                <c:pt idx="1">
                  <c:v>4103</c:v>
                </c:pt>
                <c:pt idx="2">
                  <c:v>4495</c:v>
                </c:pt>
                <c:pt idx="3">
                  <c:v>4839</c:v>
                </c:pt>
                <c:pt idx="4">
                  <c:v>5121</c:v>
                </c:pt>
                <c:pt idx="5">
                  <c:v>5376</c:v>
                </c:pt>
                <c:pt idx="6">
                  <c:v>5655</c:v>
                </c:pt>
                <c:pt idx="7">
                  <c:v>5888</c:v>
                </c:pt>
                <c:pt idx="8">
                  <c:v>61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8E-42F3-806E-EA1825C88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36768"/>
        <c:axId val="-1725947648"/>
      </c:barChart>
      <c:catAx>
        <c:axId val="-1725936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77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47648"/>
        <c:crosses val="min"/>
        <c:auto val="0"/>
        <c:lblAlgn val="ctr"/>
        <c:lblOffset val="100"/>
        <c:noMultiLvlLbl val="0"/>
      </c:catAx>
      <c:valAx>
        <c:axId val="-1725947648"/>
        <c:scaling>
          <c:orientation val="minMax"/>
          <c:max val="855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36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4052976360011397E-3"/>
          <c:y val="5.4033485540334852E-2"/>
          <c:w val="0.98518940472799776"/>
          <c:h val="0.891933028919330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EDED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BA5-48A0-A465-E7AEBD1BE8C4}"/>
                </c:ext>
              </c:extLst>
            </c:dLbl>
            <c:dLbl>
              <c:idx val="1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A5-48A0-A465-E7AEBD1BE8C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BA5-48A0-A465-E7AEBD1BE8C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BA5-48A0-A465-E7AEBD1BE8C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BA5-48A0-A465-E7AEBD1BE8C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BA5-48A0-A465-E7AEBD1BE8C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BA5-48A0-A465-E7AEBD1BE8C4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BA5-48A0-A465-E7AEBD1BE8C4}"/>
                </c:ext>
              </c:extLst>
            </c:dLbl>
            <c:dLbl>
              <c:idx val="8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BA5-48A0-A465-E7AEBD1BE8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529</c:v>
                </c:pt>
                <c:pt idx="1">
                  <c:v>541</c:v>
                </c:pt>
                <c:pt idx="2">
                  <c:v>560</c:v>
                </c:pt>
                <c:pt idx="3">
                  <c:v>577</c:v>
                </c:pt>
                <c:pt idx="4">
                  <c:v>591</c:v>
                </c:pt>
                <c:pt idx="5">
                  <c:v>606</c:v>
                </c:pt>
                <c:pt idx="6">
                  <c:v>614</c:v>
                </c:pt>
                <c:pt idx="7">
                  <c:v>621</c:v>
                </c:pt>
                <c:pt idx="8">
                  <c:v>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BA5-48A0-A465-E7AEBD1BE8C4}"/>
            </c:ext>
          </c:extLst>
        </c:ser>
        <c:ser>
          <c:idx val="1"/>
          <c:order val="1"/>
          <c:spPr>
            <a:solidFill>
              <a:srgbClr val="7D7D7D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BA5-48A0-A465-E7AEBD1BE8C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BA5-48A0-A465-E7AEBD1BE8C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BA5-48A0-A465-E7AEBD1BE8C4}"/>
                </c:ext>
              </c:extLst>
            </c:dLbl>
            <c:dLbl>
              <c:idx val="3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BA5-48A0-A465-E7AEBD1BE8C4}"/>
                </c:ext>
              </c:extLst>
            </c:dLbl>
            <c:dLbl>
              <c:idx val="4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BA5-48A0-A465-E7AEBD1BE8C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BA5-48A0-A465-E7AEBD1BE8C4}"/>
                </c:ext>
              </c:extLst>
            </c:dLbl>
            <c:dLbl>
              <c:idx val="6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BA5-48A0-A465-E7AEBD1BE8C4}"/>
                </c:ext>
              </c:extLst>
            </c:dLbl>
            <c:dLbl>
              <c:idx val="7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BA5-48A0-A465-E7AEBD1BE8C4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BA5-48A0-A465-E7AEBD1BE8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I$2</c:f>
              <c:numCache>
                <c:formatCode>General</c:formatCode>
                <c:ptCount val="9"/>
                <c:pt idx="0">
                  <c:v>66</c:v>
                </c:pt>
                <c:pt idx="1">
                  <c:v>69</c:v>
                </c:pt>
                <c:pt idx="2">
                  <c:v>76</c:v>
                </c:pt>
                <c:pt idx="3">
                  <c:v>81</c:v>
                </c:pt>
                <c:pt idx="4">
                  <c:v>88</c:v>
                </c:pt>
                <c:pt idx="5">
                  <c:v>85</c:v>
                </c:pt>
                <c:pt idx="6">
                  <c:v>87</c:v>
                </c:pt>
                <c:pt idx="7">
                  <c:v>94</c:v>
                </c:pt>
                <c:pt idx="8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BA5-48A0-A465-E7AEBD1BE8C4}"/>
            </c:ext>
          </c:extLst>
        </c:ser>
        <c:ser>
          <c:idx val="2"/>
          <c:order val="2"/>
          <c:spPr>
            <a:solidFill>
              <a:schemeClr val="accent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BA5-48A0-A465-E7AEBD1BE8C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4BA5-48A0-A465-E7AEBD1BE8C4}"/>
                </c:ext>
              </c:extLst>
            </c:dLbl>
            <c:dLbl>
              <c:idx val="2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4BA5-48A0-A465-E7AEBD1BE8C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4BA5-48A0-A465-E7AEBD1BE8C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BA5-48A0-A465-E7AEBD1BE8C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BA5-48A0-A465-E7AEBD1BE8C4}"/>
                </c:ext>
              </c:extLst>
            </c:dLbl>
            <c:dLbl>
              <c:idx val="6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4BA5-48A0-A465-E7AEBD1BE8C4}"/>
                </c:ext>
              </c:extLst>
            </c:dLbl>
            <c:dLbl>
              <c:idx val="7"/>
              <c:layout>
                <c:manualLayout>
                  <c:x val="0"/>
                  <c:y val="-3.8051750380517502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4BA5-48A0-A465-E7AEBD1BE8C4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b="1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4BA5-48A0-A465-E7AEBD1BE8C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l-G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I$3</c:f>
              <c:numCache>
                <c:formatCode>General</c:formatCode>
                <c:ptCount val="9"/>
                <c:pt idx="0">
                  <c:v>148</c:v>
                </c:pt>
                <c:pt idx="1">
                  <c:v>152</c:v>
                </c:pt>
                <c:pt idx="2">
                  <c:v>153</c:v>
                </c:pt>
                <c:pt idx="3">
                  <c:v>159</c:v>
                </c:pt>
                <c:pt idx="4">
                  <c:v>161</c:v>
                </c:pt>
                <c:pt idx="5">
                  <c:v>169</c:v>
                </c:pt>
                <c:pt idx="6">
                  <c:v>174</c:v>
                </c:pt>
                <c:pt idx="7">
                  <c:v>181</c:v>
                </c:pt>
                <c:pt idx="8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BA5-48A0-A465-E7AEBD1BE8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1725934592"/>
        <c:axId val="-1725941664"/>
      </c:barChart>
      <c:catAx>
        <c:axId val="-1725934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+mn-lt"/>
                <a:ea typeface="+mn-ea"/>
                <a:cs typeface="+mn-cs"/>
              </a:defRPr>
            </a:pPr>
            <a:endParaRPr lang="el-GR"/>
          </a:p>
        </c:txPr>
        <c:crossAx val="-1725941664"/>
        <c:crosses val="min"/>
        <c:auto val="0"/>
        <c:lblAlgn val="ctr"/>
        <c:lblOffset val="100"/>
        <c:noMultiLvlLbl val="0"/>
      </c:catAx>
      <c:valAx>
        <c:axId val="-17259416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1725934592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l-GR" altLang="el-GR"/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6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l-GR" altLang="el-GR"/>
          </a:p>
        </p:txBody>
      </p:sp>
      <p:sp>
        <p:nvSpPr>
          <p:cNvPr id="634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34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153"/>
            <a:ext cx="4984962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altLang="el-GR"/>
              <a:t>Κάντε κλικ για να επεξεργαστείτε τα στυλ κειμένου του υποδείγματος</a:t>
            </a:r>
          </a:p>
          <a:p>
            <a:pPr lvl="1"/>
            <a:r>
              <a:rPr lang="el-GR" altLang="el-GR"/>
              <a:t>Δεύτερου επιπέδου</a:t>
            </a:r>
          </a:p>
          <a:p>
            <a:pPr lvl="2"/>
            <a:r>
              <a:rPr lang="el-GR" altLang="el-GR"/>
              <a:t>Τρίτου επιπέδου</a:t>
            </a:r>
          </a:p>
          <a:p>
            <a:pPr lvl="3"/>
            <a:r>
              <a:rPr lang="el-GR" altLang="el-GR"/>
              <a:t>Τέταρτου επιπέδου</a:t>
            </a:r>
          </a:p>
          <a:p>
            <a:pPr lvl="4"/>
            <a:r>
              <a:rPr lang="el-GR" altLang="el-GR"/>
              <a:t>Πέμπτου επιπέδου</a:t>
            </a:r>
          </a:p>
        </p:txBody>
      </p:sp>
      <p:sp>
        <p:nvSpPr>
          <p:cNvPr id="634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306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l-GR" altLang="el-GR"/>
          </a:p>
        </p:txBody>
      </p:sp>
      <p:sp>
        <p:nvSpPr>
          <p:cNvPr id="634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6" y="9430306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EACE276-834B-43C8-B9CC-32CB1EA7EE77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42575139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79815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735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8052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867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30804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6150" y="1347788"/>
            <a:ext cx="4846638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77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C06E8-48A6-4E03-8711-C45C0018F49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577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3172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6588" y="773113"/>
            <a:ext cx="5178425" cy="3884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F2F30B-9E65-4EAF-8CD0-22720D0ECFC8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720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3E3C43-6D6C-462F-A2EC-DC8A6469184D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31019648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B4231-BFD4-41CF-9C9F-4613ED9B16B2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2526001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EE85BD-208E-4304-B0D4-6F680CC0E0F9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9321693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0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84909" y="1950413"/>
            <a:ext cx="2632364" cy="1882588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84909" y="3966883"/>
            <a:ext cx="2632364" cy="1882588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255823" y="1952516"/>
            <a:ext cx="5403272" cy="3899647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84909" y="607478"/>
            <a:ext cx="8174183" cy="180370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sz="1172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1" y="6387357"/>
            <a:ext cx="1524000" cy="1344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587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313155-3FEE-4271-91E5-D0B31F2CE8FF}"/>
              </a:ext>
            </a:extLst>
          </p:cNvPr>
          <p:cNvSpPr txBox="1"/>
          <p:nvPr userDrawn="1"/>
        </p:nvSpPr>
        <p:spPr>
          <a:xfrm>
            <a:off x="332508" y="6486708"/>
            <a:ext cx="2220713" cy="9034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sz="587" b="0" noProof="0" dirty="0">
                <a:solidFill>
                  <a:schemeClr val="tx1"/>
                </a:solidFill>
                <a:latin typeface="+mj-lt"/>
                <a:cs typeface="Arial" pitchFamily="34" charset="0"/>
              </a:rPr>
              <a:t>PwC</a:t>
            </a:r>
          </a:p>
        </p:txBody>
      </p:sp>
    </p:spTree>
    <p:extLst>
      <p:ext uri="{BB962C8B-B14F-4D97-AF65-F5344CB8AC3E}">
        <p14:creationId xmlns:p14="http://schemas.microsoft.com/office/powerpoint/2010/main" val="22302379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46B5AB-6E52-432C-B030-C4843A6304B4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1845923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56240B6-599E-44D5-8EE6-385CB2BC76C5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596850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1FE98C8-974F-4581-90BB-A61768848B65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41682408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9F2A8-1EC5-43BF-A12E-0E5D654C98F7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42294155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3B7A75-CF56-4DC8-ADB7-A02FCFF7C2C2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33141396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26E95F-5DD6-41C8-ADC2-9311B62C0671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4163371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9EF59A-E60A-4486-9EDB-3F9695C16B4C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443832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l-GR"/>
              <a:t>Κάντε κλικ στο εικονίδιο για να προσθέσετε εικόνα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l-GR" alt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8C8E14-0D8D-41A8-804C-66E97C5C4925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38207847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l-GR" altLang="el-GR"/>
              <a:t>Κάντε κλικ για να επεξεργαστείτε </a:t>
            </a:r>
            <a:r>
              <a:rPr lang="en-US" altLang="el-GR"/>
              <a:t/>
            </a:r>
            <a:br>
              <a:rPr lang="en-US" altLang="el-GR"/>
            </a:br>
            <a:r>
              <a:rPr lang="el-GR" altLang="el-GR"/>
              <a:t>τον τίτλο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l-GR" altLang="el-GR"/>
              <a:t>Κάντε κλικ για να επεξεργαστείτε τα στυλ κειμένου του υποδείγματος</a:t>
            </a:r>
          </a:p>
          <a:p>
            <a:pPr lvl="1"/>
            <a:r>
              <a:rPr lang="el-GR" altLang="el-GR"/>
              <a:t>Δεύτερου επιπέδου</a:t>
            </a:r>
          </a:p>
          <a:p>
            <a:pPr lvl="2"/>
            <a:r>
              <a:rPr lang="el-GR" altLang="el-GR"/>
              <a:t>Τρίτου επιπέδου</a:t>
            </a:r>
          </a:p>
          <a:p>
            <a:pPr lvl="3"/>
            <a:r>
              <a:rPr lang="el-GR" altLang="el-GR"/>
              <a:t>Τέταρτου επιπέδου</a:t>
            </a:r>
          </a:p>
          <a:p>
            <a:pPr lvl="4"/>
            <a:r>
              <a:rPr lang="el-GR" altLang="el-GR"/>
              <a:t>Πέμπτου επιπέδου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/>
            </a:lvl1pPr>
          </a:lstStyle>
          <a:p>
            <a:endParaRPr lang="el-GR" altLang="el-G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/>
            </a:lvl1pPr>
          </a:lstStyle>
          <a:p>
            <a:endParaRPr lang="el-GR" altLang="el-G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04075" y="6500813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rgbClr val="FFCC66"/>
                </a:solidFill>
              </a:defRPr>
            </a:lvl1pPr>
          </a:lstStyle>
          <a:p>
            <a:fld id="{26AFB1C7-2334-46EA-AC06-5E0672A1EA3A}" type="slidenum">
              <a:rPr lang="el-GR" altLang="el-GR"/>
              <a:pPr/>
              <a:t>‹#›</a:t>
            </a:fld>
            <a:endParaRPr lang="el-GR" alt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9" r:id="rId1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kern="1200">
          <a:solidFill>
            <a:srgbClr val="003399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>
          <a:solidFill>
            <a:srgbClr val="003399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tags" Target="../tags/tag117.xml"/><Relationship Id="rId39" Type="http://schemas.openxmlformats.org/officeDocument/2006/relationships/tags" Target="../tags/tag130.xml"/><Relationship Id="rId21" Type="http://schemas.openxmlformats.org/officeDocument/2006/relationships/tags" Target="../tags/tag112.xml"/><Relationship Id="rId34" Type="http://schemas.openxmlformats.org/officeDocument/2006/relationships/tags" Target="../tags/tag125.xml"/><Relationship Id="rId42" Type="http://schemas.openxmlformats.org/officeDocument/2006/relationships/tags" Target="../tags/tag133.xml"/><Relationship Id="rId47" Type="http://schemas.openxmlformats.org/officeDocument/2006/relationships/tags" Target="../tags/tag138.xml"/><Relationship Id="rId50" Type="http://schemas.openxmlformats.org/officeDocument/2006/relationships/tags" Target="../tags/tag141.xml"/><Relationship Id="rId55" Type="http://schemas.openxmlformats.org/officeDocument/2006/relationships/tags" Target="../tags/tag146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6" Type="http://schemas.openxmlformats.org/officeDocument/2006/relationships/tags" Target="../tags/tag107.xml"/><Relationship Id="rId29" Type="http://schemas.openxmlformats.org/officeDocument/2006/relationships/tags" Target="../tags/tag120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32" Type="http://schemas.openxmlformats.org/officeDocument/2006/relationships/tags" Target="../tags/tag123.xml"/><Relationship Id="rId37" Type="http://schemas.openxmlformats.org/officeDocument/2006/relationships/tags" Target="../tags/tag128.xml"/><Relationship Id="rId40" Type="http://schemas.openxmlformats.org/officeDocument/2006/relationships/tags" Target="../tags/tag131.xml"/><Relationship Id="rId45" Type="http://schemas.openxmlformats.org/officeDocument/2006/relationships/tags" Target="../tags/tag136.xml"/><Relationship Id="rId53" Type="http://schemas.openxmlformats.org/officeDocument/2006/relationships/tags" Target="../tags/tag144.xml"/><Relationship Id="rId58" Type="http://schemas.openxmlformats.org/officeDocument/2006/relationships/oleObject" Target="../embeddings/oleObject6.bin"/><Relationship Id="rId5" Type="http://schemas.openxmlformats.org/officeDocument/2006/relationships/tags" Target="../tags/tag96.xml"/><Relationship Id="rId19" Type="http://schemas.openxmlformats.org/officeDocument/2006/relationships/tags" Target="../tags/tag110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tags" Target="../tags/tag118.xml"/><Relationship Id="rId30" Type="http://schemas.openxmlformats.org/officeDocument/2006/relationships/tags" Target="../tags/tag121.xml"/><Relationship Id="rId35" Type="http://schemas.openxmlformats.org/officeDocument/2006/relationships/tags" Target="../tags/tag126.xml"/><Relationship Id="rId43" Type="http://schemas.openxmlformats.org/officeDocument/2006/relationships/tags" Target="../tags/tag134.xml"/><Relationship Id="rId48" Type="http://schemas.openxmlformats.org/officeDocument/2006/relationships/tags" Target="../tags/tag139.xml"/><Relationship Id="rId56" Type="http://schemas.openxmlformats.org/officeDocument/2006/relationships/slideLayout" Target="../slideLayouts/slideLayout12.xml"/><Relationship Id="rId8" Type="http://schemas.openxmlformats.org/officeDocument/2006/relationships/tags" Target="../tags/tag99.xml"/><Relationship Id="rId51" Type="http://schemas.openxmlformats.org/officeDocument/2006/relationships/tags" Target="../tags/tag142.xml"/><Relationship Id="rId3" Type="http://schemas.openxmlformats.org/officeDocument/2006/relationships/tags" Target="../tags/tag94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tags" Target="../tags/tag116.xml"/><Relationship Id="rId33" Type="http://schemas.openxmlformats.org/officeDocument/2006/relationships/tags" Target="../tags/tag124.xml"/><Relationship Id="rId38" Type="http://schemas.openxmlformats.org/officeDocument/2006/relationships/tags" Target="../tags/tag129.xml"/><Relationship Id="rId46" Type="http://schemas.openxmlformats.org/officeDocument/2006/relationships/tags" Target="../tags/tag137.xml"/><Relationship Id="rId59" Type="http://schemas.openxmlformats.org/officeDocument/2006/relationships/image" Target="../media/image3.emf"/><Relationship Id="rId20" Type="http://schemas.openxmlformats.org/officeDocument/2006/relationships/tags" Target="../tags/tag111.xml"/><Relationship Id="rId41" Type="http://schemas.openxmlformats.org/officeDocument/2006/relationships/tags" Target="../tags/tag132.xml"/><Relationship Id="rId54" Type="http://schemas.openxmlformats.org/officeDocument/2006/relationships/tags" Target="../tags/tag1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97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28" Type="http://schemas.openxmlformats.org/officeDocument/2006/relationships/tags" Target="../tags/tag119.xml"/><Relationship Id="rId36" Type="http://schemas.openxmlformats.org/officeDocument/2006/relationships/tags" Target="../tags/tag127.xml"/><Relationship Id="rId49" Type="http://schemas.openxmlformats.org/officeDocument/2006/relationships/tags" Target="../tags/tag140.xml"/><Relationship Id="rId57" Type="http://schemas.openxmlformats.org/officeDocument/2006/relationships/notesSlide" Target="../notesSlides/notesSlide5.xml"/><Relationship Id="rId10" Type="http://schemas.openxmlformats.org/officeDocument/2006/relationships/tags" Target="../tags/tag101.xml"/><Relationship Id="rId31" Type="http://schemas.openxmlformats.org/officeDocument/2006/relationships/tags" Target="../tags/tag122.xml"/><Relationship Id="rId44" Type="http://schemas.openxmlformats.org/officeDocument/2006/relationships/tags" Target="../tags/tag135.xml"/><Relationship Id="rId52" Type="http://schemas.openxmlformats.org/officeDocument/2006/relationships/tags" Target="../tags/tag143.xml"/><Relationship Id="rId60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171.xml"/><Relationship Id="rId21" Type="http://schemas.openxmlformats.org/officeDocument/2006/relationships/tags" Target="../tags/tag166.xml"/><Relationship Id="rId42" Type="http://schemas.openxmlformats.org/officeDocument/2006/relationships/tags" Target="../tags/tag187.xml"/><Relationship Id="rId47" Type="http://schemas.openxmlformats.org/officeDocument/2006/relationships/tags" Target="../tags/tag192.xml"/><Relationship Id="rId63" Type="http://schemas.openxmlformats.org/officeDocument/2006/relationships/tags" Target="../tags/tag208.xml"/><Relationship Id="rId68" Type="http://schemas.openxmlformats.org/officeDocument/2006/relationships/tags" Target="../tags/tag213.xml"/><Relationship Id="rId16" Type="http://schemas.openxmlformats.org/officeDocument/2006/relationships/tags" Target="../tags/tag161.xml"/><Relationship Id="rId11" Type="http://schemas.openxmlformats.org/officeDocument/2006/relationships/tags" Target="../tags/tag156.xml"/><Relationship Id="rId32" Type="http://schemas.openxmlformats.org/officeDocument/2006/relationships/tags" Target="../tags/tag177.xml"/><Relationship Id="rId37" Type="http://schemas.openxmlformats.org/officeDocument/2006/relationships/tags" Target="../tags/tag182.xml"/><Relationship Id="rId53" Type="http://schemas.openxmlformats.org/officeDocument/2006/relationships/tags" Target="../tags/tag198.xml"/><Relationship Id="rId58" Type="http://schemas.openxmlformats.org/officeDocument/2006/relationships/tags" Target="../tags/tag203.xml"/><Relationship Id="rId74" Type="http://schemas.openxmlformats.org/officeDocument/2006/relationships/tags" Target="../tags/tag219.xml"/><Relationship Id="rId79" Type="http://schemas.openxmlformats.org/officeDocument/2006/relationships/notesSlide" Target="../notesSlides/notesSlide6.xml"/><Relationship Id="rId5" Type="http://schemas.openxmlformats.org/officeDocument/2006/relationships/tags" Target="../tags/tag150.xml"/><Relationship Id="rId61" Type="http://schemas.openxmlformats.org/officeDocument/2006/relationships/tags" Target="../tags/tag206.xml"/><Relationship Id="rId82" Type="http://schemas.openxmlformats.org/officeDocument/2006/relationships/chart" Target="../charts/chart7.xml"/><Relationship Id="rId19" Type="http://schemas.openxmlformats.org/officeDocument/2006/relationships/tags" Target="../tags/tag164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tags" Target="../tags/tag172.xml"/><Relationship Id="rId30" Type="http://schemas.openxmlformats.org/officeDocument/2006/relationships/tags" Target="../tags/tag175.xml"/><Relationship Id="rId35" Type="http://schemas.openxmlformats.org/officeDocument/2006/relationships/tags" Target="../tags/tag180.xml"/><Relationship Id="rId43" Type="http://schemas.openxmlformats.org/officeDocument/2006/relationships/tags" Target="../tags/tag188.xml"/><Relationship Id="rId48" Type="http://schemas.openxmlformats.org/officeDocument/2006/relationships/tags" Target="../tags/tag193.xml"/><Relationship Id="rId56" Type="http://schemas.openxmlformats.org/officeDocument/2006/relationships/tags" Target="../tags/tag201.xml"/><Relationship Id="rId64" Type="http://schemas.openxmlformats.org/officeDocument/2006/relationships/tags" Target="../tags/tag209.xml"/><Relationship Id="rId69" Type="http://schemas.openxmlformats.org/officeDocument/2006/relationships/tags" Target="../tags/tag214.xml"/><Relationship Id="rId77" Type="http://schemas.openxmlformats.org/officeDocument/2006/relationships/tags" Target="../tags/tag222.xml"/><Relationship Id="rId8" Type="http://schemas.openxmlformats.org/officeDocument/2006/relationships/tags" Target="../tags/tag153.xml"/><Relationship Id="rId51" Type="http://schemas.openxmlformats.org/officeDocument/2006/relationships/tags" Target="../tags/tag196.xml"/><Relationship Id="rId72" Type="http://schemas.openxmlformats.org/officeDocument/2006/relationships/tags" Target="../tags/tag217.xml"/><Relationship Id="rId80" Type="http://schemas.openxmlformats.org/officeDocument/2006/relationships/oleObject" Target="../embeddings/oleObject7.bin"/><Relationship Id="rId3" Type="http://schemas.openxmlformats.org/officeDocument/2006/relationships/tags" Target="../tags/tag148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tags" Target="../tags/tag170.xml"/><Relationship Id="rId33" Type="http://schemas.openxmlformats.org/officeDocument/2006/relationships/tags" Target="../tags/tag178.xml"/><Relationship Id="rId38" Type="http://schemas.openxmlformats.org/officeDocument/2006/relationships/tags" Target="../tags/tag183.xml"/><Relationship Id="rId46" Type="http://schemas.openxmlformats.org/officeDocument/2006/relationships/tags" Target="../tags/tag191.xml"/><Relationship Id="rId59" Type="http://schemas.openxmlformats.org/officeDocument/2006/relationships/tags" Target="../tags/tag204.xml"/><Relationship Id="rId67" Type="http://schemas.openxmlformats.org/officeDocument/2006/relationships/tags" Target="../tags/tag212.xml"/><Relationship Id="rId20" Type="http://schemas.openxmlformats.org/officeDocument/2006/relationships/tags" Target="../tags/tag165.xml"/><Relationship Id="rId41" Type="http://schemas.openxmlformats.org/officeDocument/2006/relationships/tags" Target="../tags/tag186.xml"/><Relationship Id="rId54" Type="http://schemas.openxmlformats.org/officeDocument/2006/relationships/tags" Target="../tags/tag199.xml"/><Relationship Id="rId62" Type="http://schemas.openxmlformats.org/officeDocument/2006/relationships/tags" Target="../tags/tag207.xml"/><Relationship Id="rId70" Type="http://schemas.openxmlformats.org/officeDocument/2006/relationships/tags" Target="../tags/tag215.xml"/><Relationship Id="rId75" Type="http://schemas.openxmlformats.org/officeDocument/2006/relationships/tags" Target="../tags/tag220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1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tags" Target="../tags/tag173.xml"/><Relationship Id="rId36" Type="http://schemas.openxmlformats.org/officeDocument/2006/relationships/tags" Target="../tags/tag181.xml"/><Relationship Id="rId49" Type="http://schemas.openxmlformats.org/officeDocument/2006/relationships/tags" Target="../tags/tag194.xml"/><Relationship Id="rId57" Type="http://schemas.openxmlformats.org/officeDocument/2006/relationships/tags" Target="../tags/tag202.xml"/><Relationship Id="rId10" Type="http://schemas.openxmlformats.org/officeDocument/2006/relationships/tags" Target="../tags/tag155.xml"/><Relationship Id="rId31" Type="http://schemas.openxmlformats.org/officeDocument/2006/relationships/tags" Target="../tags/tag176.xml"/><Relationship Id="rId44" Type="http://schemas.openxmlformats.org/officeDocument/2006/relationships/tags" Target="../tags/tag189.xml"/><Relationship Id="rId52" Type="http://schemas.openxmlformats.org/officeDocument/2006/relationships/tags" Target="../tags/tag197.xml"/><Relationship Id="rId60" Type="http://schemas.openxmlformats.org/officeDocument/2006/relationships/tags" Target="../tags/tag205.xml"/><Relationship Id="rId65" Type="http://schemas.openxmlformats.org/officeDocument/2006/relationships/tags" Target="../tags/tag210.xml"/><Relationship Id="rId73" Type="http://schemas.openxmlformats.org/officeDocument/2006/relationships/tags" Target="../tags/tag218.xml"/><Relationship Id="rId78" Type="http://schemas.openxmlformats.org/officeDocument/2006/relationships/slideLayout" Target="../slideLayouts/slideLayout12.xml"/><Relationship Id="rId81" Type="http://schemas.openxmlformats.org/officeDocument/2006/relationships/image" Target="../media/image3.emf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39" Type="http://schemas.openxmlformats.org/officeDocument/2006/relationships/tags" Target="../tags/tag184.xml"/><Relationship Id="rId34" Type="http://schemas.openxmlformats.org/officeDocument/2006/relationships/tags" Target="../tags/tag179.xml"/><Relationship Id="rId50" Type="http://schemas.openxmlformats.org/officeDocument/2006/relationships/tags" Target="../tags/tag195.xml"/><Relationship Id="rId55" Type="http://schemas.openxmlformats.org/officeDocument/2006/relationships/tags" Target="../tags/tag200.xml"/><Relationship Id="rId76" Type="http://schemas.openxmlformats.org/officeDocument/2006/relationships/tags" Target="../tags/tag221.xml"/><Relationship Id="rId7" Type="http://schemas.openxmlformats.org/officeDocument/2006/relationships/tags" Target="../tags/tag152.xml"/><Relationship Id="rId71" Type="http://schemas.openxmlformats.org/officeDocument/2006/relationships/tags" Target="../tags/tag216.xml"/><Relationship Id="rId2" Type="http://schemas.openxmlformats.org/officeDocument/2006/relationships/tags" Target="../tags/tag147.xml"/><Relationship Id="rId29" Type="http://schemas.openxmlformats.org/officeDocument/2006/relationships/tags" Target="../tags/tag174.xml"/><Relationship Id="rId24" Type="http://schemas.openxmlformats.org/officeDocument/2006/relationships/tags" Target="../tags/tag169.xml"/><Relationship Id="rId40" Type="http://schemas.openxmlformats.org/officeDocument/2006/relationships/tags" Target="../tags/tag185.xml"/><Relationship Id="rId45" Type="http://schemas.openxmlformats.org/officeDocument/2006/relationships/tags" Target="../tags/tag190.xml"/><Relationship Id="rId66" Type="http://schemas.openxmlformats.org/officeDocument/2006/relationships/tags" Target="../tags/tag2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chart" Target="../charts/chart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chart" Target="../charts/chart4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oleObject" Target="../embeddings/oleObject2.bin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chart" Target="../charts/chart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slideLayout" Target="../slideLayouts/slideLayout12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image" Target="../media/image3.emf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chart" Target="../charts/chart3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notesSlide" Target="../notesSlides/notesSlide1.xml"/><Relationship Id="rId81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8.xml"/><Relationship Id="rId7" Type="http://schemas.openxmlformats.org/officeDocument/2006/relationships/image" Target="../media/image3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0.xml"/><Relationship Id="rId7" Type="http://schemas.openxmlformats.org/officeDocument/2006/relationships/image" Target="../media/image3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tags" Target="../tags/tag92.xml"/><Relationship Id="rId18" Type="http://schemas.openxmlformats.org/officeDocument/2006/relationships/chart" Target="../charts/chart5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image" Target="../media/image3.emf"/><Relationship Id="rId2" Type="http://schemas.openxmlformats.org/officeDocument/2006/relationships/tags" Target="../tags/tag81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notesSlide" Target="../notesSlides/notesSlide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060848"/>
            <a:ext cx="7173416" cy="1368153"/>
          </a:xfrm>
        </p:spPr>
        <p:txBody>
          <a:bodyPr/>
          <a:lstStyle/>
          <a:p>
            <a:r>
              <a:rPr lang="en-US" sz="2800" b="1" dirty="0">
                <a:solidFill>
                  <a:schemeClr val="tx1"/>
                </a:solidFill>
                <a:latin typeface="Georgia" panose="02040502050405020303" pitchFamily="18" charset="0"/>
              </a:rPr>
              <a:t>5th PPS financial sector technical mission October 2024 - HBA meet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51075" y="5301208"/>
            <a:ext cx="6858000" cy="744611"/>
          </a:xfrm>
        </p:spPr>
        <p:txBody>
          <a:bodyPr/>
          <a:lstStyle/>
          <a:p>
            <a:pPr algn="r"/>
            <a:r>
              <a:rPr lang="en-US" sz="1800" b="1" dirty="0">
                <a:latin typeface="Georgia" panose="02040502050405020303" pitchFamily="18" charset="0"/>
              </a:rPr>
              <a:t>Tuesday, 8</a:t>
            </a:r>
            <a:r>
              <a:rPr lang="en-US" sz="1800" b="1" baseline="30000" dirty="0">
                <a:latin typeface="Georgia" panose="02040502050405020303" pitchFamily="18" charset="0"/>
              </a:rPr>
              <a:t>th</a:t>
            </a:r>
            <a:r>
              <a:rPr lang="en-US" sz="1800" b="1" dirty="0">
                <a:latin typeface="Georgia" panose="02040502050405020303" pitchFamily="18" charset="0"/>
              </a:rPr>
              <a:t>  October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l-GR" altLang="el-GR" dirty="0"/>
          </a:p>
        </p:txBody>
      </p:sp>
    </p:spTree>
    <p:extLst>
      <p:ext uri="{BB962C8B-B14F-4D97-AF65-F5344CB8AC3E}">
        <p14:creationId xmlns:p14="http://schemas.microsoft.com/office/powerpoint/2010/main" val="2755379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7" y="2204864"/>
            <a:ext cx="8352929" cy="1728192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4. Large &amp; small scale bankruptcy</a:t>
            </a:r>
            <a:b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</a:br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(L. 4738/2020) </a:t>
            </a:r>
            <a:r>
              <a:rPr lang="en-US" sz="3200" dirty="0">
                <a:latin typeface="Georgia" panose="02040502050405020303" pitchFamily="18" charset="0"/>
              </a:rPr>
              <a:t/>
            </a:r>
            <a:br>
              <a:rPr lang="en-US" sz="3200" dirty="0">
                <a:latin typeface="Georgia" panose="02040502050405020303" pitchFamily="18" charset="0"/>
              </a:rPr>
            </a:br>
            <a:endParaRPr lang="en-US" sz="3200" dirty="0">
              <a:latin typeface="Georgia" panose="02040502050405020303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3B7A75-CF56-4DC8-ADB7-A02FCFF7C2C2}" type="slidenum">
              <a:rPr lang="el-GR" altLang="el-GR" smtClean="0">
                <a:solidFill>
                  <a:schemeClr val="tx1"/>
                </a:solidFill>
                <a:latin typeface="Georgia" panose="02040502050405020303" pitchFamily="18" charset="0"/>
              </a:rPr>
              <a:pPr/>
              <a:t>10</a:t>
            </a:fld>
            <a:endParaRPr lang="el-GR" alt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919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CF5A9-5194-47D8-BF81-DFB17922AC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6624" y="917736"/>
          <a:ext cx="1163" cy="1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58" imgW="395" imgH="396" progId="TCLayout.ActiveDocument.1">
                  <p:embed/>
                </p:oleObj>
              </mc:Choice>
              <mc:Fallback>
                <p:oleObj name="think-cell Slide" r:id="rId58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CF5A9-5194-47D8-BF81-DFB17922A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06624" y="917736"/>
                        <a:ext cx="1163" cy="1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F3B5CD-2807-4609-BC0B-29A0FD44CB2D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105460" y="916571"/>
            <a:ext cx="116316" cy="116316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E" sz="879" b="0" dirty="0">
              <a:solidFill>
                <a:srgbClr val="FFFFFF"/>
              </a:solidFill>
              <a:latin typeface="Helvetica Neue Light" panose="02000403000000020004"/>
              <a:sym typeface="Helvetica Neue Light" panose="02000403000000020004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A9E7BACC-8865-32A1-6F9D-BD43AFC25600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88131" y="2356248"/>
          <a:ext cx="8567738" cy="3125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D7734CE5-A964-488F-AFBE-3A3CC553D58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51285" y="4071938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42CA9024-9D03-400A-A5D5-23E78C64D059}" type="datetime'''5''''''''''''''''''''''''''''''''''''''''0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0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B67CD0B0-7904-4D07-A55D-0CB76CA8982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5800" y="4720829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0B883FD-3250-415B-853F-7488EE3BC128}" type="datetime'3'''''''''''''''''''''''''''''',8''''''''''''''''''1''''4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814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4862B35-4926-448C-BE3B-522B475B613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98898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8360CCB3-2428-4F98-ACEF-969CD73C670A}" type="datetime'''''''0''''''''''1''''''''''''/''''''''''24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1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C465C51D-FE35-40F7-BD43-8B05742B1F8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24013" y="3539729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0F44575-45D3-4662-AE5B-9DC377361F3E}" type="datetime'''''''2'''''',82''''''''''''''''''''''''''0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,820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B863A30A-5001-416D-AB4B-6615D964633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689498" y="4023122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9E27314-E871-4481-A097-A681B269110A}" type="datetime'''''''5''8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8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8731D0E6-DBBC-43C9-B1A8-186ABA3A51E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24013" y="4698206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5DD1B6D-7E44-4BDB-A7CB-561125F8B654}" type="datetime'''''''''3'''',''''''''''''''''9''''5''''3''''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953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9651927-619B-4BC0-B2E0-5DDE049C917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637110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C1406D2-749D-4527-BD77-2F9D060F4980}" type="datetime'''0''''2''/''''2''''''''''''''''''''4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2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B156D724-1748-4289-839F-A32ED22AF20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562225" y="3459956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B05D90A-A6F2-49A9-9FDE-B8BD540B4563}" type="datetime'''''''''''''2'',''9''''31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,931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D9ECE43C-F226-4C75-8533-77F86CE5B07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627710" y="3962400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69F880D-AEB9-4B36-939B-3D84958CBE78}" type="datetime'''''''''''''''''''5''''''''''''''''''''''9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9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C371E00C-D8E0-42E2-B943-976B26133EF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62225" y="4667250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F2FDE171-00B5-4D1E-8326-584A309513CF}" type="datetime'''''''''4'''''''''''''',1''''''''''''''''''''3''2''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132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069C063B-125A-4ADD-B579-4FC0AA6AE01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575323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5BFE0069-D1B8-42AA-83C3-E3B26F4D88B9}" type="datetime'''''''''''''0''3''/''''''''2''''''''''''4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3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2CBED257-45AB-48B0-AB91-9BAC365B3A4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00438" y="3361135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061DD11F-5E22-4EB3-B2C6-A15DC8AD4661}" type="datetime'''''''''''3'',''''''''''''''''''''''''''''1''''''04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104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ECC35FCA-112F-45F4-9567-A8C42A7B715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565923" y="3892154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8894CAE-B069-49D2-81F6-C644C0A75444}" type="datetime'''''6''''''''''''''''''''''''''''''''''''''''''''''''1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1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A79A9567-A86D-4ED9-93EE-00500730D6F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00438" y="4632722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50A0E19-0945-4A1B-BFFD-E2D5A83C369E}" type="datetime'''''''4'''''''''''''''''''''',''''''34''''''''0''''''''''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340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9DAD36C0-A23A-41DA-8AD8-953D4743994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13535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F5AFBFD3-4EB4-418E-AE0E-94039F7EEE5A}" type="datetime'''''''''''0''''''''''''4''/''2''''''4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4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EC80327-BDEF-1A25-1D4F-CC6062F160A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438650" y="3298031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F05F598-50C4-4244-B0D0-E454DEFD9A85}" type="datetime'''''''''''''''3'',''1''''9''''''''''''''''''''2''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192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78D7CA5-9D57-1FF8-2AC6-DA2E2434638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504135" y="3848100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4F79FCC-4D84-4F15-AC2B-C0F395216BF3}" type="datetime'''''''''''''''''''80''''''''''''''''''''''''''''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0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56FF68-DFE2-388F-D646-780D944CEA7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438650" y="4612481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E404BAC-C692-4F71-8DE3-3FF21667BE08}" type="datetime'''4,''''''''''''''''''''''''''''''''''''''''4''6''3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463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C652D3A-307A-E320-D01C-7524DE604FE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451748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AFA81B71-D607-41C1-9E10-3527FCB4E52B}" type="datetime'0''''''''''''''5''''/''''2''''''''''''''4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5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A51EA69-61D0-DCEC-475F-E4D75823EA7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376863" y="3209925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49306F24-B434-4530-8553-E788854DE5AF}" type="datetime'''''''''''''3,''3''0''''''''''''''''''''''9''''''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309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FD086F4-8068-607D-E5CE-A695A3F9F1A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442348" y="3780235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EA5E8D7-6FCC-4761-BDFC-E4D30E65A566}" type="datetime'''''''''''''''''8''''''''''''''''''''''''''''''''2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2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4404A33-C009-DC4A-437B-0B6B3843EF3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376863" y="4577954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D3ED5B8-0DB3-45F5-903D-0F1ADF8954F4}" type="datetime'''''''''''''''''''''''''''''''''''4'''''',''6''''''6''''''4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664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679D99C-7AD2-1728-26AE-ACBD5D54AB8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89960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A35D81E1-B072-48B5-A49A-69C4FB7E4B42}" type="datetime'''0''''''''''''''''''''''''''''''6''''/''''''''''2''''''4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6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53D2B72-B679-6F0F-59D0-D9369A9875B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15075" y="3103960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3571C5E-3BB8-4A3C-9FBF-6EC64473692C}" type="datetime'''''''''''''''3'''''''''''''',''4''''''''''90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490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9490F7D-046A-1E4A-1789-70EEF06C518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80560" y="3705225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36F458F-7ACD-45A5-8F72-8100EAA635BF}" type="datetime'''''''''''''8''''''''4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4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4E0FE5D-38E2-4E22-915B-AC1ED8AEFD4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315075" y="4541044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7485871-E04B-4764-B793-B968EA62AD0E}" type="datetime'''''4'',''''''''''8''''''''''''''''''''8''''''''7''''''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887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A3DDD24-45EE-51AF-A944-E587D5CF69A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328173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638295C3-5B78-4CAF-99F2-3A6CF5361ADF}" type="datetime'''''0''7''''''''/2''''''''''''''4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7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001CFE0C-0D76-1D28-38D5-4A9DF90A4CF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253288" y="3063479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ECF48D5-8C5A-499C-AA97-004A43EC5290}" type="datetime'''''''''3'''''''''',''5''''''''7''''''1''''''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571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5FE0D42-B435-9D44-EB14-7F25AC68CC4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7318773" y="3677841"/>
            <a:ext cx="135731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C7D1EAE-F882-441D-AAB8-381650E9B40E}" type="datetime'''''''''''7''''''''''''''''''''''8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8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EE8B442-D260-C78E-B2FE-A301EF0AA40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253288" y="4526756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597E9CA-33DB-483F-8504-F89CD39BA648}" type="datetime'4'''''''''''''''''''',''''''''''9''7''''''''3''''''''''''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973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3D50DEC-364F-A1B3-FDD5-331265D3922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266385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1ECC6AB1-8CB4-4BA1-B682-0F0B589012C3}" type="datetime'''''''''''''0''''''''''''8''''''/''''''2''''''''''4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8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C3C3592-475F-46BA-2531-FEEAA58F80D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191500" y="2978944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3B69B39-F589-4E87-81AE-B5C8AC391248}" type="datetime'''''''''''''''''''''''''3'',''''''''''6''''''''8''''''''''0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680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E8C5F4B-C9CB-A679-B0CD-C9BEF7C39BA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230791" y="3615929"/>
            <a:ext cx="188119" cy="114300"/>
          </a:xfrm>
          <a:prstGeom prst="rect">
            <a:avLst/>
          </a:prstGeom>
          <a:solidFill>
            <a:srgbClr val="7D7D7D"/>
          </a:solidFill>
          <a:ln>
            <a:noFill/>
          </a:ln>
          <a:effectLst/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B269760-FC9F-4914-B57C-E1280A254595}" type="datetime'''''''''''''''''''''''''''''''''''''''''''1''07''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07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F39B3934-5534-E17B-B279-08D6ED7726D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191500" y="4498181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059D348-8083-490B-9C03-11007A89F3D9}" type="datetime'''''''''5'''''',''''''''''''''1''''''''''''4''0'''''">
              <a:rPr lang="el-GR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40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9526E08E-3EB4-4868-AA2A-A7FBA1D542E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85800" y="3609975"/>
            <a:ext cx="26670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68740AD-5037-48D5-B9FE-73EB6A8AEF51}" type="datetime'''''2'',''''''''''''''''''''''''''''''''''''''''''''693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,693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22347708-2B8D-43B7-A3FD-036F15C4E85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88181" y="308371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FC4DB71-0001-4FF2-9E9B-D65BCB84C456}" type="datetime'''''6'''''''''''',''''''''''5''''''5''''''''''''''''7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,557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27D3F03B-53E1-4AB8-85F8-3DFCDEB615D5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626394" y="2992041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82AE8AF-3E24-4608-8410-2D08D28875D3}" type="datetime'''''''''''''''6'''''''''''''',''83''''''''''1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,831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826CF517-FC73-4FB9-A92F-E685F457BD7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564606" y="2894410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E2CF666-6C41-4A00-8480-485AC5293E57}" type="datetime'''''''''7'''''''''',''''''1''''''''''''''''''2''''2''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,122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A167F644-31F0-4151-BFD2-46D782DBC05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502819" y="2765823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F346518-34E5-426C-9557-8F07D7EFAC12}" type="datetime'''''''''''''7'''''''''',''''''''''''''''5''''0''5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,505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ADB74ED-1F3E-9F6C-9F7E-A52688FC84B0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204598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D68A4B3-7E27-4A59-A398-63BC4CF8B14C}" type="datetime'''''0''''''9''/''''''''''''2''''''''''''''''''''''''''4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9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2B87B04-C720-BCB9-C5AB-C60C0E54D54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379244" y="258008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CDF599E-24D0-46A2-83B2-80D166F908FC}" type="datetime'''''''''''''8'''''''''''',''''0''''5''''''''''5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,055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1228ED1-E95F-0F79-61E9-4042C601C228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317456" y="2444354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71B2758-83CA-4222-BEE3-26862D12CF7B}" type="datetime'8'''''''''''''''''''''',''4''''''''''''''''''''6''''''''''''1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,461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D6601F1C-CEF9-7022-A258-3407A6B5B25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255669" y="238958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F9341752-0801-41BF-9F79-3A874F34F129}" type="datetime'''8'''',''''''''6''''''''''''''''''2''''''''2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,622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C12127B5-30D4-0A9E-1E59-9A593EB3299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193881" y="2287191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9DCC2DB-1111-460C-B453-4C72141283EA}" type="datetime'8,''9''2''''''7''''''''''''''''''''''''''''''''''''''''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,927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A5ADEC-6E7C-A30B-8431-0622333713F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441031" y="2688432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9EE9679-EAB4-4ECC-BAEE-BC5A2F9DF1B8}" type="datetime'''''''''''7'''',''7''''''''''35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,735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454024BD-3ADE-4E92-BB71-107C2506D8C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517923" y="1933576"/>
            <a:ext cx="130969" cy="97631"/>
          </a:xfrm>
          <a:prstGeom prst="rect">
            <a:avLst/>
          </a:prstGeom>
          <a:solidFill>
            <a:srgbClr val="A3202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828BECFD-5A6F-48A6-A9E2-AC6FB8C80CC9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517923" y="2083594"/>
            <a:ext cx="130969" cy="97631"/>
          </a:xfrm>
          <a:prstGeom prst="rect">
            <a:avLst/>
          </a:prstGeom>
          <a:solidFill>
            <a:srgbClr val="7D7D7D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3860AA19-83D0-436A-8F5C-C90BEF92C6B5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517923" y="2233613"/>
            <a:ext cx="130969" cy="97631"/>
          </a:xfrm>
          <a:prstGeom prst="rect">
            <a:avLst/>
          </a:prstGeom>
          <a:solidFill>
            <a:srgbClr val="DEDED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0B3CE118-12B1-4CEC-9B9E-016BF8AA957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86991" y="1931194"/>
            <a:ext cx="2934891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altLang="en-US" sz="733" b="0" dirty="0">
                <a:solidFill>
                  <a:srgbClr val="000000"/>
                </a:solidFill>
                <a:latin typeface="Arial"/>
              </a:rPr>
              <a:t>Applications with registration number from first instance &amp; county courts</a:t>
            </a:r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082B574-08AB-4FE9-9212-7723297CF48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86992" y="2081213"/>
            <a:ext cx="1813322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altLang="en-US" sz="733" b="0" dirty="0">
                <a:solidFill>
                  <a:srgbClr val="000000"/>
                </a:solidFill>
                <a:latin typeface="Arial"/>
              </a:rPr>
              <a:t>Submitted from debtors &amp; pending to courts </a:t>
            </a:r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7EA87EF-91DA-4520-92D7-09C26FC7AC1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86991" y="2231232"/>
            <a:ext cx="987029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altLang="en-US" sz="733" b="0" dirty="0">
                <a:solidFill>
                  <a:srgbClr val="000000"/>
                </a:solidFill>
                <a:latin typeface="Arial"/>
              </a:rPr>
              <a:t>Pending for submission </a:t>
            </a:r>
            <a:endParaRPr lang="el-GR" sz="9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115" name="Title 2">
            <a:extLst>
              <a:ext uri="{FF2B5EF4-FFF2-40B4-BE49-F238E27FC236}">
                <a16:creationId xmlns:a16="http://schemas.microsoft.com/office/drawing/2014/main" id="{81BB0901-B4D8-4EAB-9884-112CC58D03FA}"/>
              </a:ext>
            </a:extLst>
          </p:cNvPr>
          <p:cNvSpPr txBox="1">
            <a:spLocks/>
          </p:cNvSpPr>
          <p:nvPr/>
        </p:nvSpPr>
        <p:spPr>
          <a:xfrm>
            <a:off x="480800" y="1129170"/>
            <a:ext cx="8191814" cy="214963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69958" fontAlgn="auto">
              <a:spcAft>
                <a:spcPts val="0"/>
              </a:spcAft>
              <a:defRPr/>
            </a:pPr>
            <a:r>
              <a:rPr lang="en-US" altLang="fi-FI" sz="1400" dirty="0">
                <a:solidFill>
                  <a:srgbClr val="000000"/>
                </a:solidFill>
                <a:latin typeface="Georgia"/>
              </a:rPr>
              <a:t>4</a:t>
            </a:r>
            <a:r>
              <a:rPr lang="el-GR" altLang="fi-FI" sz="1400" dirty="0">
                <a:solidFill>
                  <a:srgbClr val="000000"/>
                </a:solidFill>
                <a:latin typeface="Georgia"/>
              </a:rPr>
              <a:t>.</a:t>
            </a:r>
            <a:r>
              <a:rPr lang="en-US" altLang="fi-FI" sz="1400" dirty="0">
                <a:solidFill>
                  <a:srgbClr val="000000"/>
                </a:solidFill>
                <a:latin typeface="Georgia"/>
              </a:rPr>
              <a:t>1 Bankruptcy </a:t>
            </a:r>
            <a:endParaRPr lang="en-IE" altLang="fi-FI" sz="14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28" name="Slide Number Placeholder 2">
            <a:extLst>
              <a:ext uri="{FF2B5EF4-FFF2-40B4-BE49-F238E27FC236}">
                <a16:creationId xmlns:a16="http://schemas.microsoft.com/office/drawing/2014/main" id="{AF2D79CA-3686-40FA-980F-8E78C4E4DE48}"/>
              </a:ext>
            </a:extLst>
          </p:cNvPr>
          <p:cNvSpPr txBox="1">
            <a:spLocks/>
          </p:cNvSpPr>
          <p:nvPr/>
        </p:nvSpPr>
        <p:spPr>
          <a:xfrm>
            <a:off x="7355241" y="5621666"/>
            <a:ext cx="1263236" cy="981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482" fontAlgn="auto">
              <a:spcBef>
                <a:spcPts val="0"/>
              </a:spcBef>
              <a:spcAft>
                <a:spcPts val="0"/>
              </a:spcAft>
              <a:defRPr/>
            </a:pPr>
            <a:fld id="{7870704B-CE94-48CC-AF30-84932A1262A7}" type="slidenum">
              <a:rPr lang="en-GB" sz="537" b="0">
                <a:solidFill>
                  <a:srgbClr val="000000"/>
                </a:solidFill>
                <a:latin typeface="Arial"/>
              </a:rPr>
              <a:pPr defTabSz="654482" fontAlgn="auto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n-GB" sz="573" b="0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65D390-D6D3-8877-F0D2-5B687A42ABCF}"/>
              </a:ext>
            </a:extLst>
          </p:cNvPr>
          <p:cNvSpPr txBox="1"/>
          <p:nvPr/>
        </p:nvSpPr>
        <p:spPr bwMode="auto">
          <a:xfrm>
            <a:off x="435215" y="1584526"/>
            <a:ext cx="7851535" cy="215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  <a:defRPr/>
            </a:pPr>
            <a:r>
              <a:rPr lang="en-US" sz="750" kern="0" dirty="0">
                <a:solidFill>
                  <a:srgbClr val="000000"/>
                </a:solidFill>
                <a:latin typeface="Arial"/>
              </a:rPr>
              <a:t>#applications per stage, Jan.24 – Sept.24</a:t>
            </a:r>
            <a:endParaRPr lang="el-GR" sz="750" b="0" i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7562850" y="6548612"/>
            <a:ext cx="1524000" cy="282003"/>
          </a:xfrm>
        </p:spPr>
        <p:txBody>
          <a:bodyPr/>
          <a:lstStyle/>
          <a:p>
            <a:fld id="{FEBD7F86-1881-4698-8703-FB80B0800997}" type="slidenum">
              <a:rPr lang="en-GB" sz="1400" b="0" smtClean="0">
                <a:latin typeface="Georgia" panose="02040502050405020303" pitchFamily="18" charset="0"/>
              </a:rPr>
              <a:pPr/>
              <a:t>11</a:t>
            </a:fld>
            <a:endParaRPr lang="en-GB" sz="1400" b="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301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132856"/>
            <a:ext cx="8496944" cy="1440160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5. Vulnerable debtor certification </a:t>
            </a:r>
            <a:r>
              <a:rPr lang="el-GR" sz="3200" b="1" dirty="0">
                <a:solidFill>
                  <a:schemeClr val="tx1"/>
                </a:solidFill>
                <a:latin typeface="Georgia" panose="02040502050405020303" pitchFamily="18" charset="0"/>
              </a:rPr>
              <a:t/>
            </a:r>
            <a:br>
              <a:rPr lang="el-GR" sz="3200" b="1" dirty="0">
                <a:solidFill>
                  <a:schemeClr val="tx1"/>
                </a:solidFill>
                <a:latin typeface="Georgia" panose="02040502050405020303" pitchFamily="18" charset="0"/>
              </a:rPr>
            </a:br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(L. 4738/2020)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3B7A75-CF56-4DC8-ADB7-A02FCFF7C2C2}" type="slidenum">
              <a:rPr lang="el-GR" altLang="el-GR" smtClean="0">
                <a:solidFill>
                  <a:schemeClr val="tx1"/>
                </a:solidFill>
                <a:latin typeface="Georgia" panose="02040502050405020303" pitchFamily="18" charset="0"/>
              </a:rPr>
              <a:pPr/>
              <a:t>12</a:t>
            </a:fld>
            <a:endParaRPr lang="el-GR" alt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5764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CF5A9-5194-47D8-BF81-DFB17922AC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6624" y="917736"/>
          <a:ext cx="1163" cy="1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80" imgW="395" imgH="396" progId="TCLayout.ActiveDocument.1">
                  <p:embed/>
                </p:oleObj>
              </mc:Choice>
              <mc:Fallback>
                <p:oleObj name="think-cell Slide" r:id="rId80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CF5A9-5194-47D8-BF81-DFB17922A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06624" y="917736"/>
                        <a:ext cx="1163" cy="11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F3B5CD-2807-4609-BC0B-29A0FD44CB2D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105460" y="916571"/>
            <a:ext cx="116316" cy="116316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E" sz="879" b="0" dirty="0">
              <a:solidFill>
                <a:srgbClr val="FFFFFF"/>
              </a:solidFill>
              <a:latin typeface="Helvetica Neue Light" panose="02000403000000020004"/>
              <a:sym typeface="Helvetica Neue Light" panose="02000403000000020004"/>
            </a:endParaRPr>
          </a:p>
        </p:txBody>
      </p:sp>
      <p:graphicFrame>
        <p:nvGraphicFramePr>
          <p:cNvPr id="190" name="Chart 189">
            <a:extLst>
              <a:ext uri="{FF2B5EF4-FFF2-40B4-BE49-F238E27FC236}">
                <a16:creationId xmlns:a16="http://schemas.microsoft.com/office/drawing/2014/main" id="{F7DD82F3-5FF7-8ABE-59A5-66C3B0BD302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44765690"/>
              </p:ext>
            </p:extLst>
          </p:nvPr>
        </p:nvGraphicFramePr>
        <p:xfrm>
          <a:off x="288131" y="2512219"/>
          <a:ext cx="8567738" cy="296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90DDF76A-33FF-616C-BCDE-F77AD2CF97C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8181" y="3359944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6CC9F31-9C83-4C93-8BBE-D65B90613CB9}" type="datetime'''5'''''''''''',''1''''5''''''''''''1''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A11E062-154B-59C6-C7AA-F80886A842D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8181" y="350162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BA7A051-0E9A-4DB6-84AE-7929373B9ACE}" type="datetime'''''''''3'''',''''4''''''''''''''''''''0''''1''''''''''''''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401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3F058337-B4A4-4DE5-AEB5-15DCD774676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59606" y="4024313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0635C2F8-B0C7-4CFC-8FCC-D6CBB2123AF7}" type="datetime'28'''',''0''''''''9''''''''''''''''''''''''''1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8,091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B68D611C-56FF-4381-A0D3-1029452D903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63179" y="4927998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933B3353-DB2D-46BE-B58F-15F821AFC866}" type="datetime'''''2''''''''''''''''''''''6,''''''1''''''''''64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6,16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E6EB125C-BC09-47BF-9C37-F8B3E9CE7EB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47699" y="5481638"/>
            <a:ext cx="342900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17C2A5B-B036-421B-9C8E-1751AFC512E0}" type="datetime'0''''''''''''''''1''''''''''''''''''''/2''0''''2''4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1/20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DCCD9118-5616-4C8B-BB1B-F3C0F611148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26394" y="3111104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3F2B054-C1E0-4887-84BC-A685DF333ABE}" type="datetime'''''4'''''''''''''',''''''''1''''''''''0''3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103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B0EAF329-D481-2E83-4DE4-617417D58C4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26394" y="326588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95CB31B-0CCE-481F-B7A6-269B352A3742}" type="datetime'''''''''''''''''''5,''15''''''''''''1''''''''''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DF86022-7F90-D465-8E34-59A4BC7345A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26394" y="341828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0BB8C5E8-85F6-4B46-BD0B-3F4176C7C7B2}" type="datetime'''''''''''''4'''',''''''''''''''''0''''''''''5''9''''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059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1A953DCD-EE34-466E-9ACE-7A4159B6415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97819" y="3979069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425B29A8-B5CB-47B0-9C69-81040C00C0CE}" type="datetime'''''''2''9,''''''''''7''''''''''2''3''''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9,723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59A86B4D-95DB-46DF-9847-DFA42F9DA6A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01391" y="4918473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C933E426-17C1-4773-BE35-E59A2F2AF684}" type="datetime'''''''2''''''''''6'''''''''''''''''''''''''''''',734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6,73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AEAA68C4-6F2D-421B-B56D-6408AB08C84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37110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1344FB37-E0BC-4D34-B2B6-376DAFB07033}" type="datetime'0''''''''''''''''''''2''''''''''/''''2''''''''''''''''4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2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2A709F6C-BF00-4FB0-98E9-71FF312260B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64606" y="302537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94A3338-B0AB-430C-869A-4613ECF38B67}" type="datetime'''''''''4'''''''''',''4''''''''''''''''''''''''9''''''''''5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495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A71371B2-4F7C-72FE-D96A-9A280211E3D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564606" y="3184923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88E974F-FFF2-48BC-84FE-841DAB884CDC}" type="datetime'''''''''''''''''5,''1''5''''''''1''''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3E1CE9E3-C5AE-4916-A9B1-204DFFCF3A9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564606" y="3355182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29CF1B6-0067-4B59-BFAC-E08FC676857F}" type="datetime'''''''''''5'''''''''''''',''0''''''''''''''''''''8''''''''''0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080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08356853-4F19-414C-97F7-ED9EB25D117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536031" y="3949304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1CCF595-0E0E-46F5-AC9F-BA35BA667333}" type="datetime'''30,''''''''''''''''''''''7''''''''1''''''''''''''''3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0,713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2FB81427-B97E-4547-B979-070C2BC0A04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539604" y="4912519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52875EBE-6BE3-4662-8184-C361FF73F6B3}" type="datetime'''''''''''''''''''27'''''''''''',1''''''''''''''''''''2''3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7,123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43D34322-8E7C-4597-8304-7B97CEDD07E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75323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71C47EDC-77FC-4AB5-875A-CFD13E063BBA}" type="datetime'''''''''''0''''''''3/2''''4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3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0FC8CC7B-93D4-406A-BC60-FCA978E80A9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502819" y="2938463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CB50C60-760B-4DAE-8AD4-984923D69DDF}" type="datetime'4'''''',''''''''''''''''''''''8''3''''''''''''''''''''9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,839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2DEA610C-F500-F108-907E-F32808368A1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502819" y="3105150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B90C795-BFDA-49F6-9B13-8979824C6E2E}" type="datetime'''''5'',''1''''''''''''''''''''''''''''''''''''''5''1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AC0E551A-98DF-4E3E-8C9D-8534CEE24CD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502819" y="329207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37F5354-91B1-4A2F-B6EB-D510C3702BA8}" type="datetime'''''''''''6'',0''9''3''''''''''''''''''''''''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,093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1072DCB-98F8-1044-23B1-F17D23CB491D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474244" y="3920729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D92B914E-E43F-4F32-B06C-C78D4594DFE0}" type="datetime'''''''''3''''''''''1,''''''7''''''''''''7''8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1,778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A21CDCED-45FF-4617-9A9A-4E8975405EA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477816" y="4906566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704CAEE4-F48B-4C45-881C-FFDA3BCE1A4B}" type="datetime'''''2''''''7,4''''''''5''''''''''''''6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7,456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D2888570-6A68-4A73-B34D-0A73840F956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513535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05B74C5A-DE7B-40FA-9FE2-7993DC451499}" type="datetime'''''''0''''''''''''''''''4''''''''''''''''''''''/24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4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A83E477-33AD-A6BC-4BCE-205BFC416A2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441031" y="2876550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D68C9EE-C860-4371-A0A2-DC6FC26AE482}" type="datetime'''''''''''''''''''''5,1''''''''''''''''''''''''''''''''2''1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2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C7DFD853-0B14-C60C-AA34-864845FC78D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441031" y="3048000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4A26109-0F92-4DCD-8497-6914D82A7739}" type="datetime'''''''''''''5'''''''''''''''''',''''''''''''1''5''''''''1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A327F0D-6B1F-DBFB-C36C-5FAB085D987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441031" y="3249216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DE83BDF-3441-48B5-B101-D1EAB9EB76DB}" type="datetime'''''''''''''''''''''''''''''''''''''''''6,''''9''68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,968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9068F24-42DE-0CE2-871A-59A7638818C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412456" y="3904060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662071E-EC9A-4716-B940-0C6E8151D145}" type="datetime'''''3''''''''''2'''''''''''''',''''4''''''''''8''0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2,480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6B8D514-1716-D051-4EFD-3C918A98F85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416029" y="4904185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72FE0185-27E0-4C42-ABA2-E5598BC7A571}" type="datetime'''''''''''2''''''''''7'''',''6''''''''''''''''''0''''''5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7,605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35583C-FE7E-3A58-FCDB-06B1A7815AA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451748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8B92BC09-B334-4308-A00C-31206FE23BA1}" type="datetime'''''''''''''''''''''''''''''''''0''''''''''5/24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5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E95EB8C-07F0-59CF-07BB-60F29C13B2B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379244" y="2813448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0188FE3-D6A7-47F2-8CAA-8E7D1EAEFBBE}" type="datetime'5'',''''''3''''''''''''''''''''''''''''''''''''''''''7''6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376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81FB5967-11A0-A30D-B07A-F8A4005C75A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379244" y="298846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17E9C86-486D-456B-9D53-F4F511583F3E}" type="datetime'''''''''''''''''5'',''''''''''''''''''1''''''''''5''''''''''1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0F9ACE5-0D26-CC93-5206-A376839218B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79244" y="3205163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44FC483-5A63-4C16-A756-06DDE9C8D842}" type="datetime'''''7'''''''''''''''''''''''''''',''8''''''''''''89''''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,889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61DE95B-34B0-E307-0425-4237945044BA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350669" y="3886200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8F0C66B-6915-42A3-B1A2-4D0296887691}" type="datetime'''''3''''''''''''3'''''''''''''''''''',''''''''''1''3''''8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3,138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1F9C7F1-9935-8AA7-2013-193AFB5BFA8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5354241" y="4900613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5E8D4F86-B981-4EC6-951E-D3B78978E877}" type="datetime'''''''''''''''2''''''''''''''''''''7'''',''8''''''1''4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7,81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87E62E7-A625-C117-6087-2A7AAB2C8E0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389960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B85D54C0-9864-4CEF-9AAE-5B75575C1255}" type="datetime'''0''''6''/''''''''''''''''''''''''''''''''''''''''2''''''4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6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36F604A-E93D-79AF-5270-A421EE0826C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317456" y="273367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2084AFF-4C34-46D7-827F-7DBA3FCCB11C}" type="datetime'''''''''5'''''''''''''''''''''''''''''',6''5''''''''5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655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FB9C09E7-4BA6-83D0-D850-4E9A73A21A9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317456" y="2913460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7FD37E6-9B52-49C4-A250-33BB541D4CC8}" type="datetime'''''5'''''''''''''''''''''',''1''''''''''''''''''''''5''''1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13900C6-DCDF-8E61-8355-984BDBDF8A9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317456" y="3148013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F67CCAD-8B3C-4895-A4B9-7CB0464610E2}" type="datetime'8'',9''''''''''''''''''''''3''''''''''6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,936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6B9903C-4A29-7572-218B-8F69A5479E4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288881" y="3862388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ECCA8F1-124B-454A-AC0C-7BF06CD29EF3}" type="datetime'''3''''''''''''4'''''''''''''''''',1''''''''''''''3''''''2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4,132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21F4222-D0F2-1083-7155-5E8CFE0213F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292454" y="4897041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89120AE-C4C4-4783-917B-F286F7D23C63}" type="datetime'''''''''''''2''''''''''8'',''''''''0''''''''''''''''''1''5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8,015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B2C7581-7346-EFD1-9CCB-4BDDF72E66D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328173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7077518-F699-424C-9EFC-3F3A1B0CBFEB}" type="datetime'''''''''''''''''''0''''''''''7/''''''''''''''24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7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F583846-BA26-4C74-C24E-1B6146DC97A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255669" y="2690813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05A352B4-1135-455C-A9DB-460D02A421A3}" type="datetime'''5'''''''''''''''''',''8''''''''8''''8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888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D7410EF3-DA7D-4E0C-48D5-A40CED56CB1A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255669" y="287416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063034B-FF0F-4C77-9595-FC51DFA91740}" type="datetime'5,''''''''''''151''''''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86D66228-F0DE-7587-37C1-E224C81EB29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255669" y="3120629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785B5F5-B5EA-4C85-9DC3-A611950015D2}" type="datetime'''9'''''''''''''',''6''''''''7''''''''8''''''''''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9,678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B7395F89-2DCB-D0C5-98C8-90099EC7110C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227094" y="3854054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249412C-821E-4DC1-A887-574A98918C9C}" type="datetime'''''''3''''''''''''''4'',''4''''''''''''''''''7''''''''''8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4,478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686FFB6-7C26-9298-77C8-C3007BF7168D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230666" y="4895850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034FBA91-9940-4F49-B9EB-D8DE589A5EDA}" type="datetime'''''''''2''''8'''''''''''''''',''''''1''''05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8,105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166785E-7FEB-FA0C-3FD3-7DD55A2D68A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88181" y="320992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377834F-8D0A-4C03-B37F-CB032099E129}" type="datetime'''''''''''''''''3'''',''''''''''''''8''''''8''''''''4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,88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83022F26-05AE-8AB6-D2D2-CBF1C0E088E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193881" y="2620566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D59161E-E410-4936-ABC4-B9EE7A6C4E12}" type="datetime'''''6,''''''''''''''''1''''''''48''''''''''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,148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09F96913-000B-86F0-30C7-2050983ECDD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193881" y="2808685"/>
            <a:ext cx="261938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8C0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DAA697C8-5171-4577-9646-339DAB6EF105}" type="datetime'''''5'''''''',''''1''''''''''''''''''''''''''''''5''''1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,151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A818C44-7AAA-DB5A-449C-A5553BA5807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168879" y="3065860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2D060C4-756B-4535-A9B6-E6B46D514E72}" type="datetime'''1''''''''''''''''''''0,3''''''''''19'''''''''''''''''''">
              <a:rPr lang="el-GR" altLang="en-US" sz="733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0,319</a:t>
            </a:fld>
            <a:endParaRPr lang="el-GR" sz="733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E86C37B-EC88-8513-481B-F738837D7CF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165306" y="3827860"/>
            <a:ext cx="319088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D7D7D"/>
                </a:solidFill>
              </a14:hiddenFill>
            </a:ext>
          </a:extLst>
        </p:spPr>
        <p:txBody>
          <a:bodyPr vert="horz" wrap="none" lIns="15479" tIns="0" rIns="15479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D98DEF34-7911-4096-9F8E-8F9FEDFB6B09}" type="datetime'3''5,''''''''''''''''6''''''1''''''6'''''''''''">
              <a:rPr lang="el-GR" altLang="en-US" sz="750" b="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5,616</a:t>
            </a:fld>
            <a:endParaRPr lang="el-GR" sz="750" b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8F655CE-5055-3F8C-C0B4-6E5232DD20E9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168879" y="4892279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EDEDE"/>
                </a:solidFill>
              </a14:hiddenFill>
            </a:ext>
          </a:extLst>
        </p:spPr>
        <p:txBody>
          <a:bodyPr vert="horz" wrap="none" lIns="15122" tIns="0" rIns="15122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78F56BE0-DDC5-4A95-A777-65E883FE8E0F}" type="datetime'''28,''''''''''3''''''''''''''2''''''''4''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28,3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520F27F-D093-2685-984C-7A3B728A75E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204598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4EEE0A1B-1C66-4582-99DE-EEA0F59031DC}" type="datetime'''0''''''''9''''''/''2''''''''''''''''''''4''''''''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9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AF11C46F-BD93-4024-B396-D6B6FF0A23A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63179" y="3070623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E6DBFAC-8ED0-4BF0-BBCC-FC0B33D33880}" type="datetime'66'''',''6''''''''''''''''''''''''''''''''''9''''''''''''1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6,691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3740F38-8420-277E-0582-E8BA3B9BDA59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266385" y="5481638"/>
            <a:ext cx="240506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029487DD-F1A6-4F3B-9C42-BAC921B4FC3C}" type="datetime'''''''''0''''''''''''''''''''''''''''''''''8''/''''''24'''">
              <a:rPr lang="el-GR" altLang="en-US" sz="733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08/24</a:t>
            </a:fld>
            <a:endParaRPr lang="el-GR" sz="733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439D6CFA-B736-405D-845F-70891CD8166F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2539604" y="2875360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E0F487E-5DE1-4C7B-9A69-62A7B9379ADB}" type="datetime'''72'',''''''''''''''''''''''5''''6''''''''2''''''''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2,562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97794CC7-21E4-4517-A848-533F5C8BBA00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3477816" y="2783682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87EA40F-6498-4784-8A83-CEF79AE2481C}" type="datetime'7''''''''''''5'',''''''3''''1''''''''''''7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5,317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E010296-5C84-2052-F45C-ED73C0C53B57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4416029" y="2717007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BBE406B-28E9-4277-8A48-6777826492E3}" type="datetime'''''''''''''''7''''''''''''''''7,''''3''''''''25''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7,325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12D5719-ADC9-3EE1-06CF-E74649FCB64A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5354241" y="2649141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8D902CB-2F1E-4428-A126-4994B0BD2F8C}" type="datetime'''''''7''''''''''''''''''''''''''9'''',''''36''8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79,368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F64C7D3-C665-2277-7DFA-318C8A259F5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292454" y="2564607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9A125A6-8315-462A-BEF4-6465425B1509}" type="datetime'''''8''''1'',8''''''''''''8''''''''''''''''''''9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1,889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44471A2-A453-B8B1-B5CA-3EF132A1A864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230666" y="2518173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2E85186-67BB-4847-A28A-AB93DC35BEDD}" type="datetime'''''''''''''83'''''''',''''''''''''''''3''''''0''0''''''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3,300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CA9A377-5107-500E-CE63-A7EAE1CBF045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168879" y="2443163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AA22325-D345-418A-BED7-7FFFAAE6168E}" type="datetime'''8''''''''''''''''''''''''''''5'''''''',''''5''''''5''''8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85,558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5FB27303-4CF8-41EE-8692-06363FCA0887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601391" y="2968229"/>
            <a:ext cx="313135" cy="111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F51F53B7-BFB2-4E80-81CC-C9240FE1BD68}" type="datetime'''''6''''''''''''''''9'',''''''''''''''''''''77''''''''0'''''">
              <a:rPr lang="el-GR" altLang="en-US" sz="733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9,770</a:t>
            </a:fld>
            <a:endParaRPr lang="el-GR" sz="733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D93437-680D-4380-AB2C-D3B843E9DFF7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470297" y="1877616"/>
            <a:ext cx="120254" cy="90488"/>
          </a:xfrm>
          <a:prstGeom prst="rect">
            <a:avLst/>
          </a:prstGeom>
          <a:solidFill>
            <a:srgbClr val="EB8C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F6C8D3E0-3F48-3816-823D-D999B25B825C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470298" y="2018110"/>
            <a:ext cx="120253" cy="90488"/>
          </a:xfrm>
          <a:prstGeom prst="rect">
            <a:avLst/>
          </a:prstGeom>
          <a:solidFill>
            <a:srgbClr val="E0616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E9D7AD93-7209-4516-8C2D-DA79CAAB4115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470297" y="2158603"/>
            <a:ext cx="120254" cy="90488"/>
          </a:xfrm>
          <a:prstGeom prst="rect">
            <a:avLst/>
          </a:prstGeom>
          <a:solidFill>
            <a:srgbClr val="A3202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88D0302-F3CA-4CD4-A1CC-52E4219C0BA8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470297" y="2299097"/>
            <a:ext cx="120254" cy="90488"/>
          </a:xfrm>
          <a:prstGeom prst="rect">
            <a:avLst/>
          </a:prstGeom>
          <a:solidFill>
            <a:srgbClr val="7D7D7D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C8BC42D3-A5C4-4E4E-BB77-FE9980ED4BF4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470297" y="2439591"/>
            <a:ext cx="120254" cy="90488"/>
          </a:xfrm>
          <a:prstGeom prst="rect">
            <a:avLst/>
          </a:prstGeom>
          <a:solidFill>
            <a:srgbClr val="DEDEDE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6488964-B0BF-4ECF-8E11-046994F9835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628650" y="1875235"/>
            <a:ext cx="1400175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82A71DC8-536A-41EE-BBA9-9CCD62D902DE}" type="datetime'Submit''t''''''ed - ''ce''rtif''''''''''icate ''''den''ied'''">
              <a:rPr lang="en-US" altLang="en-US" sz="675" b="0">
                <a:solidFill>
                  <a:srgbClr val="000000"/>
                </a:solidFill>
                <a:latin typeface="Arial"/>
                <a:ea typeface="ＭＳ Ｐゴシック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Submitted - certificate denied</a:t>
            </a:fld>
            <a:r>
              <a:rPr lang="en-US" altLang="en-US" sz="675" b="0" dirty="0">
                <a:solidFill>
                  <a:srgbClr val="000000"/>
                </a:solidFill>
                <a:latin typeface="Arial"/>
              </a:rPr>
              <a:t> eligible</a:t>
            </a:r>
            <a:endParaRPr lang="el-GR" sz="67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5702B276-8CE3-A8C1-F3D7-31290259C973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628650" y="2015729"/>
            <a:ext cx="2971800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DD21006-75A6-4AD8-9974-9965872C65D7}" type="datetime'S''''''''ub''mi''''tted - ''''c''erti''ficat''''e issu''e''d'">
              <a:rPr lang="en-US" altLang="en-US" sz="675" b="0">
                <a:solidFill>
                  <a:srgbClr val="000000"/>
                </a:solidFill>
                <a:latin typeface="Arial"/>
                <a:ea typeface="ＭＳ Ｐゴシック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Submitted - certificate issued</a:t>
            </a:fld>
            <a:r>
              <a:rPr lang="el-GR" altLang="en-US" sz="675" b="0" dirty="0">
                <a:solidFill>
                  <a:srgbClr val="000000"/>
                </a:solidFill>
                <a:latin typeface="Arial"/>
                <a:ea typeface="ＭＳ Ｐゴシック"/>
              </a:rPr>
              <a:t> (</a:t>
            </a:r>
            <a:r>
              <a:rPr lang="en-US" altLang="en-US" sz="675" b="0" dirty="0">
                <a:solidFill>
                  <a:srgbClr val="000000"/>
                </a:solidFill>
                <a:latin typeface="Arial"/>
                <a:ea typeface="ＭＳ Ｐゴシック"/>
              </a:rPr>
              <a:t>instalment subsidy due to interest rate increase</a:t>
            </a:r>
            <a:r>
              <a:rPr lang="el-GR" altLang="en-US" sz="675" b="0" dirty="0">
                <a:solidFill>
                  <a:srgbClr val="000000"/>
                </a:solidFill>
                <a:latin typeface="Arial"/>
                <a:ea typeface="ＭＳ Ｐゴシック"/>
              </a:rPr>
              <a:t>)</a:t>
            </a:r>
            <a:endParaRPr lang="el-GR" sz="67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975A3-3736-4DAB-9144-EDF132744DC0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28650" y="2156223"/>
            <a:ext cx="1704975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3DD21006-75A6-4AD8-9974-9965872C65D7}" type="datetime'S''''''''ub''mi''''tted - ''''c''erti''ficat''''e issu''e''d'">
              <a:rPr lang="en-US" altLang="en-US" sz="675" b="0">
                <a:solidFill>
                  <a:srgbClr val="000000"/>
                </a:solidFill>
                <a:latin typeface="Arial"/>
                <a:ea typeface="ＭＳ Ｐゴシック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Submitted - certificate issued</a:t>
            </a:fld>
            <a:r>
              <a:rPr lang="en-US" altLang="en-US" sz="675" b="0" dirty="0">
                <a:solidFill>
                  <a:srgbClr val="000000"/>
                </a:solidFill>
                <a:latin typeface="Arial"/>
                <a:ea typeface="ＭＳ Ｐゴシック"/>
              </a:rPr>
              <a:t> (other reasons)</a:t>
            </a:r>
            <a:endParaRPr lang="el-GR" sz="67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79C2A5B-6DD8-4AF2-B4A7-C690C5F674EC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28650" y="2296716"/>
            <a:ext cx="2576513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DD97D68C-7953-4028-BF3A-48B2D7F815AE}" type="thinkcell&lt;?xml version=&quot;1.0&quot; encoding=&quot;UTF-16&quot; standalone=&quot;yes&quot;?&gt;&lt;root reqver=&quot;27037&quot;&gt;&lt;version val=&quot;32718&quot;/&gt;&lt;PersistentType&gt;&lt;m_guid val=&quot;8e382c64-c65b-4abb-9147-bc7e0bc9aa94&quot;/&gt;&lt;m_prec&gt;&lt;m_yearfmt&gt;&lt;begin val=&quot;0&quot;/&gt;&lt;end val=&quot;4&quot;/&gt;&lt;/m_yearfmt&gt;&lt;/m_prec&gt;&lt;/PersistentType&gt;&lt;/root&gt;">
              <a:rPr lang="en-US" altLang="en-US" sz="675" b="0">
                <a:solidFill>
                  <a:srgbClr val="000000"/>
                </a:solidFill>
                <a:latin typeface="Arial"/>
                <a:ea typeface="ＭＳ Ｐゴシック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Confidentiality lifted, data requested and/or under debtor processing</a:t>
            </a:fld>
            <a:endParaRPr lang="el-GR" sz="675" b="0" dirty="0">
              <a:solidFill>
                <a:srgbClr val="000000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7C70080-8266-40E2-8BBE-2BE4811F2F08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28650" y="2437210"/>
            <a:ext cx="1562100" cy="102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fld id="{C09162B5-075F-4AE3-9D06-8E1F6279D452}" type="datetime'Under p''''re''limina''ry informati''on ''comp''''l''e''tion'">
              <a:rPr lang="en-US" altLang="en-US" sz="675" b="0">
                <a:solidFill>
                  <a:srgbClr val="000000"/>
                </a:solidFill>
                <a:latin typeface="Arial"/>
                <a:ea typeface="ＭＳ Ｐゴシック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t>Under preliminary information completion</a:t>
            </a:fld>
            <a:endParaRPr lang="el-GR" sz="675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Title 2">
            <a:extLst>
              <a:ext uri="{FF2B5EF4-FFF2-40B4-BE49-F238E27FC236}">
                <a16:creationId xmlns:a16="http://schemas.microsoft.com/office/drawing/2014/main" id="{00ABDC75-971C-4963-9F66-617C8C261E81}"/>
              </a:ext>
            </a:extLst>
          </p:cNvPr>
          <p:cNvSpPr txBox="1">
            <a:spLocks/>
          </p:cNvSpPr>
          <p:nvPr/>
        </p:nvSpPr>
        <p:spPr>
          <a:xfrm>
            <a:off x="480800" y="1129170"/>
            <a:ext cx="8191814" cy="214963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69958" fontAlgn="auto">
              <a:spcAft>
                <a:spcPts val="0"/>
              </a:spcAft>
              <a:defRPr/>
            </a:pPr>
            <a:r>
              <a:rPr lang="en-US" altLang="fi-FI" sz="1400" dirty="0">
                <a:solidFill>
                  <a:srgbClr val="000000"/>
                </a:solidFill>
                <a:latin typeface="Georgia"/>
              </a:rPr>
              <a:t>5</a:t>
            </a:r>
            <a:r>
              <a:rPr lang="el-GR" altLang="fi-FI" sz="1400" dirty="0">
                <a:solidFill>
                  <a:srgbClr val="000000"/>
                </a:solidFill>
                <a:latin typeface="Georgia"/>
              </a:rPr>
              <a:t>.</a:t>
            </a:r>
            <a:r>
              <a:rPr lang="en-US" altLang="fi-FI" sz="1400" dirty="0">
                <a:solidFill>
                  <a:srgbClr val="000000"/>
                </a:solidFill>
                <a:latin typeface="Georgia"/>
              </a:rPr>
              <a:t>1 Vulnerable &amp; Financially Weak Debtors</a:t>
            </a:r>
            <a:endParaRPr lang="en-IE" altLang="fi-FI" sz="14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100" name="Slide Number Placeholder 2">
            <a:extLst>
              <a:ext uri="{FF2B5EF4-FFF2-40B4-BE49-F238E27FC236}">
                <a16:creationId xmlns:a16="http://schemas.microsoft.com/office/drawing/2014/main" id="{DC2BF952-7DA0-4F01-907F-DD4EFD2BEA81}"/>
              </a:ext>
            </a:extLst>
          </p:cNvPr>
          <p:cNvSpPr txBox="1">
            <a:spLocks/>
          </p:cNvSpPr>
          <p:nvPr/>
        </p:nvSpPr>
        <p:spPr>
          <a:xfrm>
            <a:off x="7355241" y="5621666"/>
            <a:ext cx="1263236" cy="981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482" fontAlgn="auto">
              <a:spcBef>
                <a:spcPts val="0"/>
              </a:spcBef>
              <a:spcAft>
                <a:spcPts val="0"/>
              </a:spcAft>
              <a:defRPr/>
            </a:pPr>
            <a:fld id="{7870704B-CE94-48CC-AF30-84932A1262A7}" type="slidenum">
              <a:rPr lang="en-GB" sz="537" b="0">
                <a:solidFill>
                  <a:srgbClr val="000000"/>
                </a:solidFill>
                <a:latin typeface="Arial"/>
              </a:rPr>
              <a:pPr defTabSz="654482" fontAlgn="auto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en-GB" sz="573" b="0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D9247C-4269-52B3-8FDC-39F1B55BEF4F}"/>
              </a:ext>
            </a:extLst>
          </p:cNvPr>
          <p:cNvSpPr txBox="1"/>
          <p:nvPr/>
        </p:nvSpPr>
        <p:spPr bwMode="auto">
          <a:xfrm>
            <a:off x="435215" y="1584526"/>
            <a:ext cx="7851535" cy="215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  <a:defRPr/>
            </a:pPr>
            <a:r>
              <a:rPr lang="en-US" sz="750" kern="0" dirty="0">
                <a:solidFill>
                  <a:srgbClr val="000000"/>
                </a:solidFill>
                <a:latin typeface="Arial"/>
              </a:rPr>
              <a:t>#applications per stage, Jan.24 – Sept.24</a:t>
            </a:r>
            <a:endParaRPr lang="el-GR" sz="750" b="0" i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7517607" y="6561106"/>
            <a:ext cx="1524000" cy="262367"/>
          </a:xfrm>
        </p:spPr>
        <p:txBody>
          <a:bodyPr/>
          <a:lstStyle/>
          <a:p>
            <a:fld id="{FEBD7F86-1881-4698-8703-FB80B0800997}" type="slidenum">
              <a:rPr lang="en-GB" sz="1400" b="0" smtClean="0">
                <a:latin typeface="Georgia" panose="02040502050405020303" pitchFamily="18" charset="0"/>
              </a:rPr>
              <a:pPr/>
              <a:t>13</a:t>
            </a:fld>
            <a:endParaRPr lang="en-GB" sz="1400" b="0" dirty="0">
              <a:latin typeface="Georgia" panose="02040502050405020303" pitchFamily="18" charset="0"/>
            </a:endParaRP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B007182E-C371-1277-5049-E6C00F9BBDCD}"/>
              </a:ext>
            </a:extLst>
          </p:cNvPr>
          <p:cNvSpPr/>
          <p:nvPr/>
        </p:nvSpPr>
        <p:spPr bwMode="auto">
          <a:xfrm>
            <a:off x="8599576" y="2783682"/>
            <a:ext cx="256293" cy="533400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3200" i="0" u="none" strike="noStrike" normalizeH="0" baseline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9269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276872"/>
            <a:ext cx="8280920" cy="1440160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/>
            </a:r>
            <a:b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</a:br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6. State subsidy for vulnerable debtors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3B7A75-CF56-4DC8-ADB7-A02FCFF7C2C2}" type="slidenum">
              <a:rPr lang="el-GR" altLang="el-GR" smtClean="0">
                <a:solidFill>
                  <a:schemeClr val="tx1"/>
                </a:solidFill>
                <a:latin typeface="Georgia" panose="02040502050405020303" pitchFamily="18" charset="0"/>
              </a:rPr>
              <a:pPr/>
              <a:t>14</a:t>
            </a:fld>
            <a:endParaRPr lang="el-GR" alt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47444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3B7A75-CF56-4DC8-ADB7-A02FCFF7C2C2}" type="slidenum">
              <a:rPr lang="el-GR" altLang="el-GR" smtClean="0"/>
              <a:pPr/>
              <a:t>15</a:t>
            </a:fld>
            <a:endParaRPr lang="el-GR" altLang="el-G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254C191-EA8C-8418-4FBE-05487845335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276528"/>
              </p:ext>
            </p:extLst>
          </p:nvPr>
        </p:nvGraphicFramePr>
        <p:xfrm>
          <a:off x="373857" y="2459831"/>
          <a:ext cx="8360569" cy="3128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00ABDC75-971C-4963-9F66-617C8C261E81}"/>
              </a:ext>
            </a:extLst>
          </p:cNvPr>
          <p:cNvSpPr txBox="1">
            <a:spLocks/>
          </p:cNvSpPr>
          <p:nvPr/>
        </p:nvSpPr>
        <p:spPr>
          <a:xfrm>
            <a:off x="480800" y="1129170"/>
            <a:ext cx="8191814" cy="214963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69958" fontAlgn="auto">
              <a:spcAft>
                <a:spcPts val="0"/>
              </a:spcAft>
              <a:defRPr/>
            </a:pPr>
            <a:r>
              <a:rPr lang="en-US" altLang="fi-FI" sz="1350" dirty="0">
                <a:solidFill>
                  <a:srgbClr val="000000"/>
                </a:solidFill>
                <a:latin typeface="Georgia"/>
              </a:rPr>
              <a:t>6</a:t>
            </a:r>
            <a:r>
              <a:rPr lang="el-GR" altLang="fi-FI" sz="1350" dirty="0">
                <a:solidFill>
                  <a:srgbClr val="000000"/>
                </a:solidFill>
                <a:latin typeface="Georgia"/>
              </a:rPr>
              <a:t>.</a:t>
            </a:r>
            <a:r>
              <a:rPr lang="en-US" altLang="fi-FI" sz="1350" dirty="0">
                <a:solidFill>
                  <a:srgbClr val="000000"/>
                </a:solidFill>
                <a:latin typeface="Georgia"/>
              </a:rPr>
              <a:t>1</a:t>
            </a:r>
            <a:r>
              <a:rPr lang="el-GR" altLang="fi-FI" sz="1350" dirty="0">
                <a:solidFill>
                  <a:srgbClr val="000000"/>
                </a:solidFill>
                <a:latin typeface="Georgia"/>
              </a:rPr>
              <a:t> </a:t>
            </a:r>
            <a:r>
              <a:rPr lang="en-US" altLang="fi-FI" sz="1350" dirty="0">
                <a:solidFill>
                  <a:srgbClr val="000000"/>
                </a:solidFill>
                <a:latin typeface="Georgia"/>
              </a:rPr>
              <a:t>State subsidy for vulnerable debtors</a:t>
            </a:r>
            <a:endParaRPr lang="en-IE" altLang="fi-FI" sz="135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30ED18-C243-4D2B-83B0-6DF01784F33D}"/>
              </a:ext>
            </a:extLst>
          </p:cNvPr>
          <p:cNvSpPr txBox="1"/>
          <p:nvPr/>
        </p:nvSpPr>
        <p:spPr bwMode="auto">
          <a:xfrm>
            <a:off x="435215" y="1584526"/>
            <a:ext cx="7851535" cy="215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  <a:defRPr/>
            </a:pPr>
            <a:r>
              <a:rPr lang="en-US" sz="750" kern="0" dirty="0">
                <a:solidFill>
                  <a:srgbClr val="000000"/>
                </a:solidFill>
                <a:latin typeface="Arial"/>
              </a:rPr>
              <a:t>#applications per stage, Jan.24 – Sept.24</a:t>
            </a:r>
            <a:endParaRPr lang="el-GR" sz="750" b="0" i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53816D-7E6B-4389-BBF7-96D442590B4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60785" y="1997869"/>
            <a:ext cx="806054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en-US" sz="750" b="0" dirty="0">
                <a:solidFill>
                  <a:srgbClr val="000000"/>
                </a:solidFill>
                <a:latin typeface="Arial"/>
              </a:rPr>
              <a:t>Subsidy</a:t>
            </a:r>
            <a:r>
              <a:rPr lang="el-GR" altLang="en-US" sz="750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en-US" sz="750" dirty="0">
                <a:solidFill>
                  <a:srgbClr val="000000"/>
                </a:solidFill>
                <a:latin typeface="Arial"/>
              </a:rPr>
              <a:t>monitoring</a:t>
            </a:r>
            <a:endParaRPr lang="el-GR" sz="7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AC8D2F1-D378-42F4-8A73-974EBAB6052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60785" y="2150269"/>
            <a:ext cx="2615804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750" b="0" dirty="0">
                <a:solidFill>
                  <a:srgbClr val="000000"/>
                </a:solidFill>
                <a:latin typeface="Arial"/>
              </a:rPr>
              <a:t>Pending approval from Financial Institution / execution creditor</a:t>
            </a:r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0010B00-7B58-43A0-B5CB-31DA7BD454C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60785" y="2302669"/>
            <a:ext cx="984647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altLang="en-US" sz="750" b="0" dirty="0">
                <a:solidFill>
                  <a:srgbClr val="000000"/>
                </a:solidFill>
                <a:latin typeface="Arial"/>
              </a:rPr>
              <a:t>Pending for submission</a:t>
            </a:r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33434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9552" y="2420888"/>
            <a:ext cx="7916416" cy="1584176"/>
          </a:xfrm>
        </p:spPr>
        <p:txBody>
          <a:bodyPr/>
          <a:lstStyle/>
          <a:p>
            <a:pPr lvl="0" algn="l"/>
            <a:r>
              <a:rPr lang="en-US" sz="3200" b="1" kern="1600" spc="18" dirty="0">
                <a:solidFill>
                  <a:srgbClr val="000000"/>
                </a:solidFill>
                <a:latin typeface="Georgia" panose="02040502050405020303" pitchFamily="18" charset="0"/>
                <a:ea typeface="+mn-ea"/>
                <a:cs typeface="+mn-cs"/>
              </a:rPr>
              <a:t>7. Update on e-auctions data</a:t>
            </a:r>
            <a:br>
              <a:rPr lang="en-US" sz="3200" b="1" kern="1600" spc="18" dirty="0">
                <a:solidFill>
                  <a:srgbClr val="000000"/>
                </a:solidFill>
                <a:latin typeface="Georgia" panose="02040502050405020303" pitchFamily="18" charset="0"/>
                <a:ea typeface="+mn-ea"/>
                <a:cs typeface="+mn-cs"/>
              </a:rPr>
            </a:br>
            <a:r>
              <a:rPr lang="en-GB" sz="3200" b="1" dirty="0">
                <a:solidFill>
                  <a:srgbClr val="000000"/>
                </a:solidFill>
                <a:latin typeface="Georgia" panose="02040502050405020303" pitchFamily="18" charset="0"/>
                <a:ea typeface="+mn-ea"/>
                <a:cs typeface="+mn-cs"/>
              </a:rPr>
              <a:t/>
            </a:r>
            <a:br>
              <a:rPr lang="en-GB" sz="3200" b="1" dirty="0">
                <a:solidFill>
                  <a:srgbClr val="000000"/>
                </a:solidFill>
                <a:latin typeface="Georgia" panose="02040502050405020303" pitchFamily="18" charset="0"/>
                <a:ea typeface="+mn-ea"/>
                <a:cs typeface="+mn-cs"/>
              </a:rPr>
            </a:br>
            <a:endParaRPr lang="en-US" sz="3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E3C43-6D6C-462F-A2EC-DC8A6469184D}" type="slidenum">
              <a:rPr lang="el-GR" altLang="el-GR" smtClean="0">
                <a:solidFill>
                  <a:schemeClr val="tx1"/>
                </a:solidFill>
                <a:latin typeface="Georgia" panose="02040502050405020303" pitchFamily="18" charset="0"/>
              </a:rPr>
              <a:pPr/>
              <a:t>16</a:t>
            </a:fld>
            <a:endParaRPr lang="el-GR" alt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47260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611560" y="609600"/>
            <a:ext cx="7846640" cy="1143000"/>
          </a:xfrm>
        </p:spPr>
        <p:txBody>
          <a:bodyPr/>
          <a:lstStyle/>
          <a:p>
            <a:pPr algn="l"/>
            <a:r>
              <a:rPr lang="en-US" sz="2200" b="1" dirty="0">
                <a:solidFill>
                  <a:srgbClr val="C00000"/>
                </a:solidFill>
                <a:latin typeface="Georgia" panose="02040502050405020303" pitchFamily="18" charset="0"/>
              </a:rPr>
              <a:t>E-auctions key figures </a:t>
            </a:r>
            <a:r>
              <a:rPr lang="en-US" sz="2200" b="1" dirty="0">
                <a:solidFill>
                  <a:srgbClr val="C00000"/>
                </a:solidFill>
                <a:latin typeface="Century Gothic" panose="020B0502020202020204" pitchFamily="34" charset="0"/>
              </a:rPr>
              <a:t/>
            </a:r>
            <a:br>
              <a:rPr lang="en-US" sz="2200" b="1" dirty="0">
                <a:solidFill>
                  <a:srgbClr val="C00000"/>
                </a:solidFill>
                <a:latin typeface="Century Gothic" panose="020B0502020202020204" pitchFamily="34" charset="0"/>
              </a:rPr>
            </a:br>
            <a:endParaRPr lang="el-GR" sz="22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" name="Ευθεία γραμμή σύνδεσης 7"/>
          <p:cNvCxnSpPr/>
          <p:nvPr/>
        </p:nvCxnSpPr>
        <p:spPr bwMode="auto">
          <a:xfrm>
            <a:off x="611560" y="1268760"/>
            <a:ext cx="784664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" name="Θέση αριθμού διαφάνειας 3"/>
          <p:cNvSpPr>
            <a:spLocks noGrp="1"/>
          </p:cNvSpPr>
          <p:nvPr>
            <p:ph type="sldNum" sz="quarter" idx="12"/>
          </p:nvPr>
        </p:nvSpPr>
        <p:spPr>
          <a:xfrm>
            <a:off x="7204075" y="6500813"/>
            <a:ext cx="1905000" cy="457200"/>
          </a:xfrm>
        </p:spPr>
        <p:txBody>
          <a:bodyPr/>
          <a:lstStyle/>
          <a:p>
            <a:fld id="{B446B5AB-6E52-432C-B030-C4843A6304B4}" type="slidenum">
              <a:rPr lang="el-GR" altLang="el-GR" smtClean="0">
                <a:solidFill>
                  <a:schemeClr val="tx1"/>
                </a:solidFill>
              </a:rPr>
              <a:pPr/>
              <a:t>17</a:t>
            </a:fld>
            <a:endParaRPr lang="el-GR" altLang="el-GR" dirty="0">
              <a:solidFill>
                <a:schemeClr val="tx1"/>
              </a:solidFill>
            </a:endParaRPr>
          </a:p>
        </p:txBody>
      </p:sp>
      <p:graphicFrame>
        <p:nvGraphicFramePr>
          <p:cNvPr id="4" name="Θέση περιεχομένου 3">
            <a:extLst>
              <a:ext uri="{FF2B5EF4-FFF2-40B4-BE49-F238E27FC236}">
                <a16:creationId xmlns:a16="http://schemas.microsoft.com/office/drawing/2014/main" id="{BC9A2094-E140-4F5A-440F-4D32EE52C3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3199167"/>
              </p:ext>
            </p:extLst>
          </p:nvPr>
        </p:nvGraphicFramePr>
        <p:xfrm>
          <a:off x="694876" y="1412776"/>
          <a:ext cx="7414592" cy="4444527"/>
        </p:xfrm>
        <a:graphic>
          <a:graphicData uri="http://schemas.openxmlformats.org/drawingml/2006/table">
            <a:tbl>
              <a:tblPr/>
              <a:tblGrid>
                <a:gridCol w="4218556">
                  <a:extLst>
                    <a:ext uri="{9D8B030D-6E8A-4147-A177-3AD203B41FA5}">
                      <a16:colId xmlns:a16="http://schemas.microsoft.com/office/drawing/2014/main" val="1971715608"/>
                    </a:ext>
                  </a:extLst>
                </a:gridCol>
                <a:gridCol w="3196036">
                  <a:extLst>
                    <a:ext uri="{9D8B030D-6E8A-4147-A177-3AD203B41FA5}">
                      <a16:colId xmlns:a16="http://schemas.microsoft.com/office/drawing/2014/main" val="1947869869"/>
                    </a:ext>
                  </a:extLst>
                </a:gridCol>
              </a:tblGrid>
              <a:tr h="70824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TOTAL auction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Mid March- end September</a:t>
                      </a:r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Georgia" panose="02040502050405020303" pitchFamily="18" charset="0"/>
                        </a:rPr>
                        <a:t> (retail &amp; corporate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598466"/>
                  </a:ext>
                </a:extLst>
              </a:tr>
              <a:tr h="346666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# Asse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521784"/>
                  </a:ext>
                </a:extLst>
              </a:tr>
              <a:tr h="4286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Schedul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2.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5699456"/>
                  </a:ext>
                </a:extLst>
              </a:tr>
              <a:tr h="3466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(</a:t>
                      </a:r>
                      <a:r>
                        <a:rPr lang="en-US" sz="18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i</a:t>
                      </a:r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) Suspended/Cancell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934869"/>
                  </a:ext>
                </a:extLst>
              </a:tr>
              <a:tr h="4286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(ii) Conducted*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1.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859219"/>
                  </a:ext>
                </a:extLst>
              </a:tr>
              <a:tr h="34666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- Barre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1.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229243"/>
                  </a:ext>
                </a:extLst>
              </a:tr>
              <a:tr h="4286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-Successfu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1964163"/>
                  </a:ext>
                </a:extLst>
              </a:tr>
              <a:tr h="4286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(a) RE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7682345"/>
                  </a:ext>
                </a:extLst>
              </a:tr>
              <a:tr h="4286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(b) Acquired by 3</a:t>
                      </a:r>
                      <a:r>
                        <a:rPr lang="en-US" sz="1800" b="1" i="0" u="none" strike="noStrike" baseline="300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rd</a:t>
                      </a:r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Parti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2815138"/>
                  </a:ext>
                </a:extLst>
              </a:tr>
              <a:tr h="4286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*</a:t>
                      </a:r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Not yet known outcome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16</a:t>
                      </a:r>
                      <a:endParaRPr lang="el-GR" sz="1600" b="0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84568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10623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E85B10-CF35-4EF2-A05A-0D7079690A47}" type="slidenum">
              <a:rPr kumimoji="0" lang="el-GR" altLang="el-GR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l-GR" altLang="el-GR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2211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2200" b="1" kern="1600" spc="18" dirty="0">
                <a:solidFill>
                  <a:srgbClr val="C00000"/>
                </a:solidFill>
                <a:latin typeface="Century Gothic" panose="020B0502020202020204" pitchFamily="34" charset="0"/>
              </a:rPr>
              <a:t/>
            </a:r>
            <a:br>
              <a:rPr lang="en-US" sz="2200" b="1" kern="1600" spc="18" dirty="0">
                <a:solidFill>
                  <a:srgbClr val="C00000"/>
                </a:solidFill>
                <a:latin typeface="Century Gothic" panose="020B0502020202020204" pitchFamily="34" charset="0"/>
              </a:rPr>
            </a:br>
            <a:r>
              <a:rPr lang="en-US" sz="2200" b="1" kern="1600" spc="18" dirty="0">
                <a:solidFill>
                  <a:srgbClr val="C00000"/>
                </a:solidFill>
                <a:latin typeface="Georgia" panose="02040502050405020303" pitchFamily="18" charset="0"/>
              </a:rPr>
              <a:t>E-auctions estimation – </a:t>
            </a:r>
            <a:r>
              <a:rPr lang="en-US" sz="2200" b="1" dirty="0">
                <a:solidFill>
                  <a:srgbClr val="C00000"/>
                </a:solidFill>
                <a:latin typeface="Georgia" panose="02040502050405020303" pitchFamily="18" charset="0"/>
              </a:rPr>
              <a:t>Q4 2024</a:t>
            </a:r>
            <a:r>
              <a:rPr lang="en-US" sz="2400" b="1" dirty="0">
                <a:solidFill>
                  <a:srgbClr val="C00000"/>
                </a:solidFill>
                <a:latin typeface="Georgia" panose="02040502050405020303" pitchFamily="18" charset="0"/>
              </a:rPr>
              <a:t/>
            </a:r>
            <a:br>
              <a:rPr lang="en-US" sz="2400" b="1" dirty="0">
                <a:solidFill>
                  <a:srgbClr val="C00000"/>
                </a:solidFill>
                <a:latin typeface="Georgia" panose="02040502050405020303" pitchFamily="18" charset="0"/>
              </a:rPr>
            </a:br>
            <a:r>
              <a:rPr lang="en-US" sz="2200" b="1" kern="1600" spc="18" dirty="0">
                <a:solidFill>
                  <a:srgbClr val="C00000"/>
                </a:solidFill>
                <a:latin typeface="Century Gothic" pitchFamily="34" charset="0"/>
              </a:rPr>
              <a:t/>
            </a:r>
            <a:br>
              <a:rPr lang="en-US" sz="2200" b="1" kern="1600" spc="18" dirty="0">
                <a:solidFill>
                  <a:srgbClr val="C00000"/>
                </a:solidFill>
                <a:latin typeface="Century Gothic" pitchFamily="34" charset="0"/>
              </a:rPr>
            </a:br>
            <a:endParaRPr lang="en-US" altLang="el-GR" sz="2200" b="1" kern="1600" spc="18" dirty="0">
              <a:solidFill>
                <a:srgbClr val="C00000"/>
              </a:solidFill>
              <a:latin typeface="Century Gothic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D910DEE-F20F-482E-96DC-38906C4B43A7}"/>
              </a:ext>
            </a:extLst>
          </p:cNvPr>
          <p:cNvCxnSpPr/>
          <p:nvPr/>
        </p:nvCxnSpPr>
        <p:spPr bwMode="auto">
          <a:xfrm>
            <a:off x="538200" y="1412776"/>
            <a:ext cx="79200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graphicFrame>
        <p:nvGraphicFramePr>
          <p:cNvPr id="4" name="Πίνακας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173872"/>
              </p:ext>
            </p:extLst>
          </p:nvPr>
        </p:nvGraphicFramePr>
        <p:xfrm>
          <a:off x="685800" y="1752600"/>
          <a:ext cx="7054552" cy="3634686"/>
        </p:xfrm>
        <a:graphic>
          <a:graphicData uri="http://schemas.openxmlformats.org/drawingml/2006/table">
            <a:tbl>
              <a:tblPr/>
              <a:tblGrid>
                <a:gridCol w="2403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51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9050">
                <a:tc gridSpan="2">
                  <a:txBody>
                    <a:bodyPr/>
                    <a:lstStyle/>
                    <a:p>
                      <a:pPr algn="ctr" rtl="0" fontAlgn="t"/>
                      <a:endParaRPr lang="el-GR" sz="1800" b="1" i="0" u="none" strike="noStrike" dirty="0">
                        <a:solidFill>
                          <a:srgbClr val="C00000"/>
                        </a:solidFill>
                        <a:effectLst/>
                        <a:latin typeface="Georgia" panose="02040502050405020303" pitchFamily="18" charset="0"/>
                      </a:endParaRPr>
                    </a:p>
                    <a:p>
                      <a:pPr algn="ctr" rtl="0" fontAlgn="t"/>
                      <a:r>
                        <a:rPr lang="en-US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Georgia" panose="02040502050405020303" pitchFamily="18" charset="0"/>
                        </a:rPr>
                        <a:t>Auctions planned:</a:t>
                      </a:r>
                      <a:r>
                        <a:rPr lang="el-GR" sz="18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Georgia" panose="02040502050405020303" pitchFamily="18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Georgia" panose="02040502050405020303" pitchFamily="18" charset="0"/>
                        </a:rPr>
                        <a:t>Q</a:t>
                      </a:r>
                      <a:r>
                        <a:rPr lang="el-GR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Georgia" panose="02040502050405020303" pitchFamily="18" charset="0"/>
                        </a:rPr>
                        <a:t>4</a:t>
                      </a:r>
                      <a:r>
                        <a:rPr lang="en-US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Georgia" panose="02040502050405020303" pitchFamily="18" charset="0"/>
                        </a:rPr>
                        <a:t> 2024</a:t>
                      </a:r>
                      <a:br>
                        <a:rPr lang="en-US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Georgia" panose="02040502050405020303" pitchFamily="18" charset="0"/>
                        </a:rPr>
                      </a:br>
                      <a:endParaRPr lang="en-US" sz="1800" b="1" i="0" u="none" strike="noStrike" dirty="0">
                        <a:solidFill>
                          <a:srgbClr val="C00000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9050">
                <a:tc gridSpan="2">
                  <a:txBody>
                    <a:bodyPr/>
                    <a:lstStyle/>
                    <a:p>
                      <a:pPr algn="ctr" rtl="0" fontAlgn="t"/>
                      <a:endParaRPr lang="el-GR" sz="1800" b="1" i="0" u="none" strike="noStrike" dirty="0">
                        <a:solidFill>
                          <a:srgbClr val="C00000"/>
                        </a:solidFill>
                        <a:effectLst/>
                        <a:latin typeface="Georgia" panose="02040502050405020303" pitchFamily="18" charset="0"/>
                      </a:endParaRPr>
                    </a:p>
                    <a:p>
                      <a:pPr algn="ctr" rtl="0" fontAlgn="t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retail</a:t>
                      </a:r>
                      <a:r>
                        <a:rPr lang="en-US" sz="18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 &amp; corporate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166050"/>
                  </a:ext>
                </a:extLst>
              </a:tr>
              <a:tr h="117688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# properties estimated to be auction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1.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626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-of which already plann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l-G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9511" y="1556792"/>
            <a:ext cx="8929563" cy="2664296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1. Lending activity and trends (including medium term projections), incl. SME financing and PRP-related lending projections</a:t>
            </a:r>
            <a:r>
              <a:rPr lang="en-US" sz="3200" dirty="0">
                <a:solidFill>
                  <a:schemeClr val="tx1"/>
                </a:solidFill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46B5AB-6E52-432C-B030-C4843A6304B4}" type="slidenum">
              <a:rPr lang="el-GR" altLang="el-GR" smtClean="0"/>
              <a:pPr/>
              <a:t>2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2869201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609600"/>
            <a:ext cx="8784976" cy="1910531"/>
          </a:xfrm>
        </p:spPr>
        <p:txBody>
          <a:bodyPr/>
          <a:lstStyle/>
          <a:p>
            <a:r>
              <a:rPr lang="en-US" sz="2800" b="1" dirty="0">
                <a:solidFill>
                  <a:schemeClr val="tx1"/>
                </a:solidFill>
                <a:latin typeface="Georgia" panose="02040502050405020303" pitchFamily="18" charset="0"/>
              </a:rPr>
              <a:t>1.1 Lending activity and trends (including medium term projections), incl. SME financing and PRP-related lending proje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2520131"/>
            <a:ext cx="8568952" cy="3980682"/>
          </a:xfrm>
        </p:spPr>
        <p:txBody>
          <a:bodyPr/>
          <a:lstStyle/>
          <a:p>
            <a:pPr algn="just"/>
            <a:r>
              <a:rPr lang="en-US" sz="2000" dirty="0">
                <a:latin typeface="Georgia" panose="02040502050405020303" pitchFamily="18" charset="0"/>
              </a:rPr>
              <a:t>For the period starting 1</a:t>
            </a:r>
            <a:r>
              <a:rPr lang="en-US" sz="2000" baseline="30000" dirty="0">
                <a:latin typeface="Georgia" panose="02040502050405020303" pitchFamily="18" charset="0"/>
              </a:rPr>
              <a:t>st</a:t>
            </a:r>
            <a:r>
              <a:rPr lang="en-US" sz="2000" dirty="0">
                <a:latin typeface="Georgia" panose="02040502050405020303" pitchFamily="18" charset="0"/>
              </a:rPr>
              <a:t> </a:t>
            </a:r>
            <a:r>
              <a:rPr lang="en-US" sz="2000">
                <a:latin typeface="Georgia" panose="02040502050405020303" pitchFamily="18" charset="0"/>
              </a:rPr>
              <a:t>January until 31</a:t>
            </a:r>
            <a:r>
              <a:rPr lang="en-US" sz="2000" baseline="30000">
                <a:latin typeface="Georgia" panose="02040502050405020303" pitchFamily="18" charset="0"/>
              </a:rPr>
              <a:t>st</a:t>
            </a:r>
            <a:r>
              <a:rPr lang="en-US" sz="2000">
                <a:latin typeface="Georgia" panose="02040502050405020303" pitchFamily="18" charset="0"/>
              </a:rPr>
              <a:t> August </a:t>
            </a:r>
            <a:r>
              <a:rPr lang="en-US" sz="2000" dirty="0">
                <a:latin typeface="Georgia" panose="02040502050405020303" pitchFamily="18" charset="0"/>
              </a:rPr>
              <a:t>2024 banks have disbursed a total of 2,775.92 M. within the framework of co-financed programmes. </a:t>
            </a:r>
            <a:endParaRPr lang="el-GR" sz="2000" dirty="0">
              <a:latin typeface="Georgia" panose="02040502050405020303" pitchFamily="18" charset="0"/>
            </a:endParaRPr>
          </a:p>
          <a:p>
            <a:pPr algn="just"/>
            <a:r>
              <a:rPr lang="en-US" sz="2000" dirty="0">
                <a:latin typeface="Georgia" panose="02040502050405020303" pitchFamily="18" charset="0"/>
              </a:rPr>
              <a:t>During the same period, banks have also granted business loans amounting to 15,973.95 M. </a:t>
            </a:r>
          </a:p>
          <a:p>
            <a:pPr algn="just"/>
            <a:r>
              <a:rPr lang="en-US" sz="2000" dirty="0">
                <a:latin typeface="Georgia" panose="02040502050405020303" pitchFamily="18" charset="0"/>
              </a:rPr>
              <a:t>The aggregate amount of loans granted during this timeframe is 18,749.87 M. The aforementioned total includes funding provided under co-financed programmes and business lending facilities.</a:t>
            </a:r>
          </a:p>
          <a:p>
            <a:pPr algn="just"/>
            <a:r>
              <a:rPr lang="en-US" sz="2000" dirty="0">
                <a:latin typeface="Georgia" panose="02040502050405020303" pitchFamily="18" charset="0"/>
              </a:rPr>
              <a:t>The above amount includes 680,64 M. in the context of co-financing with the Recovery and Resilience Fund.</a:t>
            </a:r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46B5AB-6E52-432C-B030-C4843A6304B4}" type="slidenum">
              <a:rPr lang="el-GR" altLang="el-GR" smtClean="0"/>
              <a:pPr/>
              <a:t>3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390276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529" y="2204864"/>
            <a:ext cx="8568951" cy="1728192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2. Electronic Platform for applications’  L. 3869/10 resubmission (L. 4745/20) </a:t>
            </a:r>
            <a:b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</a:br>
            <a:endParaRPr lang="en-US" sz="3200" b="1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204074" y="6400800"/>
            <a:ext cx="1905000" cy="457200"/>
          </a:xfrm>
        </p:spPr>
        <p:txBody>
          <a:bodyPr/>
          <a:lstStyle/>
          <a:p>
            <a:fld id="{B446B5AB-6E52-432C-B030-C4843A6304B4}" type="slidenum">
              <a:rPr lang="el-GR" altLang="el-GR" smtClean="0">
                <a:solidFill>
                  <a:schemeClr val="tx1"/>
                </a:solidFill>
                <a:latin typeface="Georgia" panose="02040502050405020303" pitchFamily="18" charset="0"/>
              </a:rPr>
              <a:pPr/>
              <a:t>4</a:t>
            </a:fld>
            <a:endParaRPr lang="el-GR" alt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982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CF5A9-5194-47D8-BF81-DFB17922AC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9626" y="975663"/>
          <a:ext cx="1136" cy="11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79" imgW="395" imgH="396" progId="TCLayout.ActiveDocument.1">
                  <p:embed/>
                </p:oleObj>
              </mc:Choice>
              <mc:Fallback>
                <p:oleObj name="think-cell Slide" r:id="rId79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CF5A9-5194-47D8-BF81-DFB17922A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209626" y="975663"/>
                        <a:ext cx="1136" cy="11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F3B5CD-2807-4609-BC0B-29A0FD44CB2D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08488" y="974524"/>
            <a:ext cx="113633" cy="113633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544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E" sz="859" b="0" dirty="0">
              <a:solidFill>
                <a:srgbClr val="FFFFFF"/>
              </a:solidFill>
              <a:latin typeface="Helvetica Neue Light" panose="02000403000000020004"/>
              <a:sym typeface="Helvetica Neue Light" panose="02000403000000020004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B49FCA60-9D65-4BDC-9E6E-DB90CEADA0F0}"/>
              </a:ext>
            </a:extLst>
          </p:cNvPr>
          <p:cNvSpPr txBox="1">
            <a:spLocks/>
          </p:cNvSpPr>
          <p:nvPr/>
        </p:nvSpPr>
        <p:spPr>
          <a:xfrm>
            <a:off x="625079" y="724567"/>
            <a:ext cx="8320286" cy="177690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54482" fontAlgn="auto">
              <a:spcAft>
                <a:spcPts val="0"/>
              </a:spcAft>
              <a:defRPr/>
            </a:pPr>
            <a:r>
              <a:rPr lang="en-US" altLang="fi-FI" sz="1600" dirty="0">
                <a:solidFill>
                  <a:srgbClr val="000000"/>
                </a:solidFill>
                <a:latin typeface="Georgia"/>
              </a:rPr>
              <a:t>2</a:t>
            </a:r>
            <a:r>
              <a:rPr lang="el-GR" altLang="fi-FI" sz="1600" dirty="0">
                <a:solidFill>
                  <a:srgbClr val="000000"/>
                </a:solidFill>
                <a:latin typeface="Georgia"/>
              </a:rPr>
              <a:t>.</a:t>
            </a:r>
            <a:r>
              <a:rPr lang="en-US" altLang="fi-FI" sz="1600" dirty="0">
                <a:solidFill>
                  <a:srgbClr val="000000"/>
                </a:solidFill>
                <a:latin typeface="Georgia"/>
              </a:rPr>
              <a:t>1</a:t>
            </a:r>
            <a:r>
              <a:rPr lang="el-GR" altLang="fi-FI" sz="1600" dirty="0">
                <a:solidFill>
                  <a:srgbClr val="000000"/>
                </a:solidFill>
                <a:latin typeface="Georgia"/>
              </a:rPr>
              <a:t> </a:t>
            </a:r>
            <a:r>
              <a:rPr lang="en-US" altLang="fi-FI" sz="1600" dirty="0">
                <a:solidFill>
                  <a:srgbClr val="000000"/>
                </a:solidFill>
                <a:latin typeface="Georgia"/>
              </a:rPr>
              <a:t>Electronic Platform for applications</a:t>
            </a:r>
            <a:r>
              <a:rPr lang="el-GR" altLang="fi-FI" sz="1600" dirty="0">
                <a:solidFill>
                  <a:srgbClr val="000000"/>
                </a:solidFill>
                <a:latin typeface="Georgia"/>
              </a:rPr>
              <a:t>’</a:t>
            </a:r>
            <a:r>
              <a:rPr lang="en-US" altLang="fi-FI" sz="1600" dirty="0">
                <a:solidFill>
                  <a:srgbClr val="000000"/>
                </a:solidFill>
                <a:latin typeface="Georgia"/>
              </a:rPr>
              <a:t> L. 3869/2010 resubmission (L.4745/2020)</a:t>
            </a:r>
            <a:endParaRPr lang="el-GR" altLang="fi-FI" sz="1600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899841-40C7-C1D3-3FAB-36BFC9730AA8}"/>
              </a:ext>
            </a:extLst>
          </p:cNvPr>
          <p:cNvSpPr/>
          <p:nvPr/>
        </p:nvSpPr>
        <p:spPr bwMode="ltGray">
          <a:xfrm>
            <a:off x="0" y="4175693"/>
            <a:ext cx="9144000" cy="235401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03D8A2-85C6-2534-1CF9-DAA53D621DCF}"/>
              </a:ext>
            </a:extLst>
          </p:cNvPr>
          <p:cNvSpPr/>
          <p:nvPr/>
        </p:nvSpPr>
        <p:spPr bwMode="ltGray">
          <a:xfrm>
            <a:off x="0" y="2260946"/>
            <a:ext cx="9144000" cy="235401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194242-35B7-5755-01C2-5E34A4C5FA1A}"/>
              </a:ext>
            </a:extLst>
          </p:cNvPr>
          <p:cNvSpPr txBox="1"/>
          <p:nvPr/>
        </p:nvSpPr>
        <p:spPr bwMode="auto">
          <a:xfrm>
            <a:off x="3448900" y="2276604"/>
            <a:ext cx="2246201" cy="20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  <a:defRPr/>
            </a:pPr>
            <a:r>
              <a:rPr lang="en-US" sz="675" kern="0" dirty="0">
                <a:solidFill>
                  <a:srgbClr val="FFFFFF"/>
                </a:solidFill>
                <a:latin typeface="Arial"/>
              </a:rPr>
              <a:t>Number of courts per Date</a:t>
            </a:r>
            <a:r>
              <a:rPr lang="el-GR" sz="675" kern="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US" sz="675" kern="0" dirty="0">
                <a:solidFill>
                  <a:srgbClr val="FFFFFF"/>
                </a:solidFill>
                <a:latin typeface="Arial"/>
              </a:rPr>
              <a:t>(</a:t>
            </a:r>
            <a:r>
              <a:rPr lang="el-GR" sz="675" b="0" kern="0" dirty="0">
                <a:solidFill>
                  <a:srgbClr val="FFFFFF"/>
                </a:solidFill>
                <a:latin typeface="Arial"/>
              </a:rPr>
              <a:t>47.594 </a:t>
            </a:r>
            <a:r>
              <a:rPr lang="en-US" sz="675" b="0" kern="0" dirty="0">
                <a:solidFill>
                  <a:srgbClr val="FFFFFF"/>
                </a:solidFill>
                <a:latin typeface="Arial"/>
              </a:rPr>
              <a:t>applications</a:t>
            </a:r>
            <a:r>
              <a:rPr lang="el-GR" sz="675" b="0" kern="0" dirty="0">
                <a:solidFill>
                  <a:srgbClr val="FFFFFF"/>
                </a:solidFill>
                <a:latin typeface="Arial"/>
              </a:rPr>
              <a:t>)</a:t>
            </a:r>
            <a:endParaRPr lang="el-GR" sz="675" b="0" i="1" kern="0" baseline="30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D831468-D1AF-68B4-0556-85E1849AD3EC}"/>
              </a:ext>
            </a:extLst>
          </p:cNvPr>
          <p:cNvSpPr txBox="1"/>
          <p:nvPr/>
        </p:nvSpPr>
        <p:spPr bwMode="auto">
          <a:xfrm>
            <a:off x="3448899" y="4193553"/>
            <a:ext cx="2324696" cy="20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algn="ctr" defTabSz="629961" eaLnBrk="1" hangingPunct="1">
              <a:spcAft>
                <a:spcPts val="0"/>
              </a:spcAft>
              <a:defRPr/>
            </a:pPr>
            <a:r>
              <a:rPr lang="en-US" sz="675" kern="0" dirty="0">
                <a:solidFill>
                  <a:srgbClr val="FFFFFF"/>
                </a:solidFill>
                <a:latin typeface="Arial"/>
              </a:rPr>
              <a:t>Number of decisions per Date </a:t>
            </a:r>
            <a:r>
              <a:rPr lang="el-GR" sz="675" b="0" kern="0" dirty="0">
                <a:solidFill>
                  <a:srgbClr val="FFFFFF"/>
                </a:solidFill>
                <a:latin typeface="Arial"/>
              </a:rPr>
              <a:t>(4</a:t>
            </a:r>
            <a:r>
              <a:rPr lang="en-US" sz="675" b="0" kern="0" dirty="0">
                <a:solidFill>
                  <a:srgbClr val="FFFFFF"/>
                </a:solidFill>
                <a:latin typeface="Arial"/>
              </a:rPr>
              <a:t>3</a:t>
            </a:r>
            <a:r>
              <a:rPr lang="el-GR" sz="675" b="0" kern="0" dirty="0">
                <a:solidFill>
                  <a:srgbClr val="FFFFFF"/>
                </a:solidFill>
                <a:latin typeface="Arial"/>
              </a:rPr>
              <a:t>.</a:t>
            </a:r>
            <a:r>
              <a:rPr lang="en-US" sz="675" b="0" kern="0" dirty="0">
                <a:solidFill>
                  <a:srgbClr val="FFFFFF"/>
                </a:solidFill>
                <a:latin typeface="Arial"/>
              </a:rPr>
              <a:t>111</a:t>
            </a:r>
            <a:r>
              <a:rPr lang="el-GR" sz="675" b="0" kern="0" dirty="0">
                <a:solidFill>
                  <a:srgbClr val="FFFFFF"/>
                </a:solidFill>
                <a:latin typeface="Arial"/>
              </a:rPr>
              <a:t> </a:t>
            </a:r>
            <a:r>
              <a:rPr lang="en-US" sz="675" b="0" kern="0" dirty="0">
                <a:solidFill>
                  <a:srgbClr val="FFFFFF"/>
                </a:solidFill>
                <a:latin typeface="Arial"/>
              </a:rPr>
              <a:t>applications</a:t>
            </a:r>
            <a:r>
              <a:rPr lang="el-GR" sz="675" b="0" kern="0" dirty="0">
                <a:solidFill>
                  <a:srgbClr val="FFFFFF"/>
                </a:solidFill>
                <a:latin typeface="Arial"/>
              </a:rPr>
              <a:t>)</a:t>
            </a:r>
            <a:endParaRPr lang="el-GR" sz="675" b="0" i="1" kern="0" baseline="30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B6E02D-4CCF-4CFB-BBE9-50F67A5DE38A}"/>
              </a:ext>
            </a:extLst>
          </p:cNvPr>
          <p:cNvSpPr/>
          <p:nvPr/>
        </p:nvSpPr>
        <p:spPr>
          <a:xfrm>
            <a:off x="838201" y="1005984"/>
            <a:ext cx="7116365" cy="114471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200" dirty="0">
                <a:solidFill>
                  <a:srgbClr val="202124"/>
                </a:solidFill>
                <a:latin typeface="Arial"/>
              </a:rPr>
              <a:t>47.7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39</a:t>
            </a:r>
            <a:r>
              <a:rPr lang="el-GR" sz="1200" dirty="0">
                <a:solidFill>
                  <a:srgbClr val="202124"/>
                </a:solidFill>
                <a:latin typeface="Arial"/>
              </a:rPr>
              <a:t> 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applications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finally resubmitted, out of which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:</a:t>
            </a: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202124"/>
                </a:solidFill>
                <a:latin typeface="Arial"/>
              </a:rPr>
              <a:t>14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still pending to receive 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ΓΑΚ / ΕΑΚ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 number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from </a:t>
            </a:r>
            <a:r>
              <a:rPr lang="en-US" sz="1200" b="0" dirty="0" smtClean="0">
                <a:solidFill>
                  <a:srgbClr val="202124"/>
                </a:solidFill>
                <a:latin typeface="Arial"/>
              </a:rPr>
              <a:t>the court</a:t>
            </a:r>
            <a:endParaRPr lang="el-GR" sz="1200" b="0" dirty="0">
              <a:solidFill>
                <a:srgbClr val="202124"/>
              </a:solidFill>
              <a:latin typeface="Arial"/>
            </a:endParaRPr>
          </a:p>
          <a:p>
            <a:pPr marL="128588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l-GR" sz="1200" dirty="0">
                <a:solidFill>
                  <a:srgbClr val="202124"/>
                </a:solidFill>
                <a:latin typeface="Arial"/>
              </a:rPr>
              <a:t>47.72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5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applications successful accepted (received 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ΓΑΚ / ΕΑΚ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 number)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from the court, out of which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: </a:t>
            </a:r>
          </a:p>
          <a:p>
            <a:pPr marL="471488" lvl="1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el-GR" sz="1200" dirty="0">
                <a:solidFill>
                  <a:srgbClr val="202124"/>
                </a:solidFill>
                <a:latin typeface="Arial"/>
              </a:rPr>
              <a:t>1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31 pending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to receive a </a:t>
            </a:r>
            <a:r>
              <a:rPr lang="en-US" sz="1200" b="0" dirty="0" smtClean="0">
                <a:solidFill>
                  <a:srgbClr val="202124"/>
                </a:solidFill>
                <a:latin typeface="Arial"/>
              </a:rPr>
              <a:t>hearing for</a:t>
            </a:r>
            <a:r>
              <a:rPr lang="en-US" sz="1200" dirty="0" smtClean="0">
                <a:solidFill>
                  <a:srgbClr val="202124"/>
                </a:solidFill>
                <a:latin typeface="Arial"/>
              </a:rPr>
              <a:t> </a:t>
            </a:r>
            <a:r>
              <a:rPr lang="el-GR" sz="1200" dirty="0">
                <a:solidFill>
                  <a:srgbClr val="202124"/>
                </a:solidFill>
                <a:latin typeface="Arial"/>
              </a:rPr>
              <a:t>47.594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applications the </a:t>
            </a:r>
            <a:r>
              <a:rPr lang="en-US" sz="1200" b="0" dirty="0" smtClean="0">
                <a:solidFill>
                  <a:srgbClr val="202124"/>
                </a:solidFill>
                <a:latin typeface="Arial"/>
              </a:rPr>
              <a:t>hearing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has been </a:t>
            </a:r>
            <a:r>
              <a:rPr lang="en-US" sz="1200" b="0" dirty="0" smtClean="0">
                <a:solidFill>
                  <a:srgbClr val="202124"/>
                </a:solidFill>
                <a:latin typeface="Arial"/>
              </a:rPr>
              <a:t>scheduled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(graph below), out of which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:</a:t>
            </a:r>
          </a:p>
          <a:p>
            <a:pPr marL="814388" lvl="2" indent="-128588" defTabSz="6858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0" dirty="0">
                <a:solidFill>
                  <a:srgbClr val="202124"/>
                </a:solidFill>
                <a:latin typeface="Arial"/>
              </a:rPr>
              <a:t>For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 </a:t>
            </a:r>
            <a:r>
              <a:rPr lang="el-GR" sz="1200" dirty="0">
                <a:solidFill>
                  <a:srgbClr val="202124"/>
                </a:solidFill>
                <a:latin typeface="Arial"/>
              </a:rPr>
              <a:t>4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3</a:t>
            </a:r>
            <a:r>
              <a:rPr lang="el-GR" sz="1200" dirty="0">
                <a:solidFill>
                  <a:srgbClr val="202124"/>
                </a:solidFill>
                <a:latin typeface="Arial"/>
              </a:rPr>
              <a:t>.</a:t>
            </a:r>
            <a:r>
              <a:rPr lang="en-US" sz="1200" dirty="0">
                <a:solidFill>
                  <a:srgbClr val="202124"/>
                </a:solidFill>
                <a:latin typeface="Arial"/>
              </a:rPr>
              <a:t>111 </a:t>
            </a:r>
            <a:r>
              <a:rPr lang="en-US" sz="1200" b="0" dirty="0">
                <a:solidFill>
                  <a:srgbClr val="202124"/>
                </a:solidFill>
                <a:latin typeface="Arial"/>
              </a:rPr>
              <a:t>applications issued a decision (graph below)</a:t>
            </a:r>
            <a:r>
              <a:rPr lang="el-GR" sz="1200" b="0" dirty="0">
                <a:solidFill>
                  <a:srgbClr val="202124"/>
                </a:solidFill>
                <a:latin typeface="Arial"/>
              </a:rPr>
              <a:t>.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5705A3F0-B5F4-222D-9349-CD5B08FD66CB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48216" y="2667893"/>
          <a:ext cx="4114800" cy="1494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ABBB16B-7DFB-A440-358C-E24ACF92EF6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772716" y="3926682"/>
            <a:ext cx="65485" cy="6548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4F57F592-E854-31B1-9C07-08FD3A478CF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772716" y="3881438"/>
            <a:ext cx="65485" cy="107156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3CE0481-9E56-186F-D9DD-6589E989DEF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2369344" y="3839766"/>
            <a:ext cx="6548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677A2AB6-5E3B-13A4-5D5F-0AB2669BAA43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3168254" y="3926683"/>
            <a:ext cx="65484" cy="6072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AEFBA86-8045-192E-1162-C8AB6CC645C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3168254" y="3881438"/>
            <a:ext cx="65484" cy="105966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FDDEA830-A77A-FABF-2A06-C0ACF948F21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8201" y="3881437"/>
            <a:ext cx="69056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CEB5A79D-7468-43BD-9045-6CB2C5953BF9}" type="datetime'''''''''''''''''''''''''''''''6'''''''''">
              <a:rPr lang="el-GR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8A4634E9-EBA6-67ED-1196-D90F10A252A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6491" y="3920728"/>
            <a:ext cx="219075" cy="91679"/>
          </a:xfrm>
          <a:prstGeom prst="rect">
            <a:avLst/>
          </a:prstGeom>
          <a:solidFill>
            <a:srgbClr val="DB536A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965BDAD-F3E1-49AB-A3F2-2EB50531D5B9}" type="datetime'''1''.''''''''''12''''''''''''''''''''''''''6''''''''''''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.126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2" name="Google Shape;12;p10">
            <a:extLst>
              <a:ext uri="{FF2B5EF4-FFF2-40B4-BE49-F238E27FC236}">
                <a16:creationId xmlns:a16="http://schemas.microsoft.com/office/drawing/2014/main" id="{F35BB147-BCBC-7C8E-2AA0-595960A64BA7}"/>
              </a:ext>
            </a:extLst>
          </p:cNvPr>
          <p:cNvSpPr txBox="1"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5541" y="4063603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E7A4CC98-8438-4182-8DBB-A579D8FB174C}" type="datetime'2''0''''''2''''''''''''''''1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l-GR" sz="600" b="1" dirty="0">
              <a:ea typeface="+mn-ea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A677B264-37FB-9D59-7C3E-5E44236498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295400" y="3156347"/>
            <a:ext cx="219075" cy="91679"/>
          </a:xfrm>
          <a:prstGeom prst="rect">
            <a:avLst/>
          </a:prstGeom>
          <a:solidFill>
            <a:srgbClr val="DB536A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E8EF707-786B-4AC8-A2F9-DE12B6DCA715}" type="datetime'''''''''''''''2.2''''''''''''''''''''''''''''''''''04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.204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Google Shape;12;p10">
            <a:extLst>
              <a:ext uri="{FF2B5EF4-FFF2-40B4-BE49-F238E27FC236}">
                <a16:creationId xmlns:a16="http://schemas.microsoft.com/office/drawing/2014/main" id="{74B7747D-D295-3370-4BD2-8B67D511278D}"/>
              </a:ext>
            </a:extLst>
          </p:cNvPr>
          <p:cNvSpPr txBox="1"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314450" y="4063603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B3E0D5C5-5F9A-4921-A10F-59F82AB42660}" type="datetime'''''''''''''''20''''2''''''''''''2''''''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l-GR" sz="600" b="1" dirty="0">
              <a:ea typeface="+mn-ea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9C51010D-11BB-D03D-D76C-5881F334845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237185" y="3818335"/>
            <a:ext cx="154781" cy="9167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34D7503-FD8E-4220-A5B4-CD8FEF7A3374}" type="datetime'''''''''''6''''''''''5''''''''''''''''''''''''4''''''''''''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54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F4DC3BA1-9A54-C74C-0388-8F26998B68A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35534" y="3808675"/>
            <a:ext cx="133785" cy="88241"/>
          </a:xfrm>
          <a:prstGeom prst="rect">
            <a:avLst/>
          </a:prstGeom>
          <a:solidFill>
            <a:srgbClr val="DB536A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03E442F-36F6-49FA-ABE0-BA4FC6DE2BF4}" type="datetime'''''''''1''''''''''''''''''''''''''''''2''''9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29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8" name="Google Shape;12;p10">
            <a:extLst>
              <a:ext uri="{FF2B5EF4-FFF2-40B4-BE49-F238E27FC236}">
                <a16:creationId xmlns:a16="http://schemas.microsoft.com/office/drawing/2014/main" id="{E9FC700D-B7B8-18B7-FEDC-C90219C4202B}"/>
              </a:ext>
            </a:extLst>
          </p:cNvPr>
          <p:cNvSpPr txBox="1"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112169" y="4063603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B10BAD09-CE42-4BF3-9E51-397EA054B1F3}" type="datetime'''''''''2''''''''''''''''0''''''''''''''''2''''3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l-GR" sz="600" b="1" dirty="0">
              <a:ea typeface="+mn-ea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1988605D-E70D-3490-ED81-2599FCF938B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813448" y="3944541"/>
            <a:ext cx="154781" cy="91679"/>
          </a:xfrm>
          <a:prstGeom prst="rect">
            <a:avLst/>
          </a:prstGeom>
          <a:solidFill>
            <a:srgbClr val="464646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7044556-85B5-4BA9-B736-D0EACC6F2F79}" type="datetime'''1''''''''''''''''''''''''''''''''''''1''''5''''''''''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15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E563BD7F-B2BD-C278-4B6C-3DC9285E6DE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57525" y="3942160"/>
            <a:ext cx="111919" cy="9167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F71F928-18A5-4848-B3CC-3C3607EE4BD8}" type="datetime'''''''''''''''''''''''''''''''''''''2''''''''''''''''''1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1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5C54B2FA-E0EB-6347-C882-38A7181C091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233738" y="3881437"/>
            <a:ext cx="69056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B536A"/>
                </a:solidFill>
              </a14:hiddenFill>
            </a:ext>
          </a:extLst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416AE05-77F5-4CF1-8EDA-A6B1A5B71575}" type="datetime'''''5'''''''''''''''">
              <a:rPr lang="el-GR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5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CF04B41-362F-0F7A-77D0-75F287904D24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233738" y="3789760"/>
            <a:ext cx="11191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2CF0365-353B-4025-9CD3-D2E8AB498158}" type="datetime'''''''''''''''''''1''''''''''''''0'''''''''''''''''''''">
              <a:rPr lang="el-GR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0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Google Shape;12;p10">
            <a:extLst>
              <a:ext uri="{FF2B5EF4-FFF2-40B4-BE49-F238E27FC236}">
                <a16:creationId xmlns:a16="http://schemas.microsoft.com/office/drawing/2014/main" id="{582F0338-4680-9E2B-29E8-02C636BD5E49}"/>
              </a:ext>
            </a:extLst>
          </p:cNvPr>
          <p:cNvSpPr txBox="1"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911079" y="4063603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BF6D8122-5F66-47A1-97A3-9BE04EAAF4B1}" type="datetime'''''''''''''''''''2''''''''''''''''0''''''24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l-GR" sz="600" b="1" dirty="0">
              <a:ea typeface="+mn-ea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F069D86-FC12-F1B4-AC52-F279A3748E3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654029" y="3946922"/>
            <a:ext cx="69056" cy="91679"/>
          </a:xfrm>
          <a:prstGeom prst="rect">
            <a:avLst/>
          </a:prstGeom>
          <a:solidFill>
            <a:srgbClr val="464646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9986371-E086-427B-BE62-F8E27A787B54}" type="datetime'''''''''''''''''''''''''''''''''''''''1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76D8008-B6A8-F610-30C3-C32A7CB2574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876676" y="3946922"/>
            <a:ext cx="69056" cy="9167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8499BCB1-625B-43D1-B4E0-D2A9A900AFEE}" type="datetime'''''''''''''''''''''''''''''''1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4" name="Google Shape;12;p10">
            <a:extLst>
              <a:ext uri="{FF2B5EF4-FFF2-40B4-BE49-F238E27FC236}">
                <a16:creationId xmlns:a16="http://schemas.microsoft.com/office/drawing/2014/main" id="{8AB56FB8-EFB9-08C7-0911-2145101F65E5}"/>
              </a:ext>
            </a:extLst>
          </p:cNvPr>
          <p:cNvSpPr txBox="1"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708797" y="4063603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DC3AA20C-CB6C-440A-BE2D-9CD32EF32E35}" type="datetime'''''2''''''0''2''''''''''''''''''''''5''''''''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el-GR" sz="600" b="1" dirty="0">
              <a:ea typeface="+mn-ea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329105BD-BF99-2662-D90C-2995CABF750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6491" y="3643312"/>
            <a:ext cx="2190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B25333E-3081-4C02-BC58-4CB2CFE03F16}" type="datetime'''''6''.9''''''''''''8''''''''8''''''''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.988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2D84EC31-DCC3-22AB-5332-BA246A5C253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273969" y="2665810"/>
            <a:ext cx="261938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FF80F88C-7BCD-43B2-9BE3-42DF31E4FCEB}" type="datetime'''''''''''''''''''35''''''''''.''7''''''''60''''''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5.760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D2931367-CB93-871E-4501-42461D35777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93119" y="3690766"/>
            <a:ext cx="219075" cy="7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086D217-75C0-4A9B-9CE8-63065A9277F9}" type="datetime'4''''''.''''''''''''''''''''''''''''6''''''''93''''''''''''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.693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96260F3-2DCF-42CF-300C-B58472E2FAB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924176" y="3850481"/>
            <a:ext cx="154781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6B12ACF6-4D2F-4F4E-8315-C14DFC485A33}" type="datetime'1''''''''''5''''''''''''''''''''''''''''''''''''''''''''''''1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51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5A5145D0-8740-992F-CE28-8156C3AAF3B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764757" y="3855244"/>
            <a:ext cx="69056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5F09842-D8AF-4AC0-9892-6BA5278CB9EE}" type="datetime'''''''''''''''''''2''''''''''''''''''''''''''''''''''''''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D4561CDD-0652-5EE6-12A7-80F1EBA558D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05992" y="2620567"/>
            <a:ext cx="107156" cy="79772"/>
          </a:xfrm>
          <a:prstGeom prst="rect">
            <a:avLst/>
          </a:prstGeom>
          <a:solidFill>
            <a:srgbClr val="46464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3456E52-74F9-CA4F-018F-3E160578BB20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305992" y="2750344"/>
            <a:ext cx="107156" cy="79772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F78DC872-133B-548E-B87B-E2CBBC1E25F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305992" y="2880123"/>
            <a:ext cx="107156" cy="79772"/>
          </a:xfrm>
          <a:prstGeom prst="rect">
            <a:avLst/>
          </a:prstGeom>
          <a:solidFill>
            <a:srgbClr val="DB536A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C3DB9500-D6B2-E510-82F4-57773A2D44F0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305992" y="3009901"/>
            <a:ext cx="107156" cy="79772"/>
          </a:xfrm>
          <a:prstGeom prst="rect">
            <a:avLst/>
          </a:prstGeom>
          <a:solidFill>
            <a:srgbClr val="A32020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916ADF88-838A-A44C-EF76-5FC5A4BF332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51248" y="2616994"/>
            <a:ext cx="40838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D3CDEE86-3864-4483-A650-532B8A66C491}" type="datetime'''1''''s''''t ''Q''''''''''''u''a''''''''''''''r''t''e''''r'''">
              <a:rPr lang="en-US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st Quarter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9856CCA5-12E5-197A-C4C1-16F1E2A0E8D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51247" y="2746772"/>
            <a:ext cx="433388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607CA31-E1DE-4428-A955-9BA3A0CD7054}" type="datetime'2''''n''''d ''''''''''''''''''Q''''u''ar''t''''''e''''''''r'''">
              <a:rPr lang="en-US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nd Quarter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C07155F5-EEFB-B2B8-F7B1-2477813547B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1248" y="2876550"/>
            <a:ext cx="416719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1C115A7-689B-4FED-B264-8CEBC46D4E40}" type="datetime'3''''''''''''''''rd'''''''' ''Q''u''a''''rt''''''er'">
              <a:rPr lang="en-US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3rd Quarter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3F48714D-A1A1-5E72-35F1-0D251333A47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51249" y="3006328"/>
            <a:ext cx="411956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A0E55029-13B7-407A-9D81-7425ACD716B3}" type="datetime'''4''''t''''h'''' ''Q''''''''''u''''a''''''''''r''t''''er'''''">
              <a:rPr lang="en-US" altLang="en-US" sz="600">
                <a:solidFill>
                  <a:srgbClr val="000000"/>
                </a:solidFill>
                <a:latin typeface="Arial"/>
              </a:rPr>
              <a:pPr indent="0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4th Quarter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AA2EF816-F4BB-0056-274E-5034B7CD6D8B}"/>
              </a:ext>
            </a:extLst>
          </p:cNvPr>
          <p:cNvGraphicFramePr/>
          <p:nvPr>
            <p:custDataLst>
              <p:tags r:id="rId39"/>
            </p:custDataLst>
          </p:nvPr>
        </p:nvGraphicFramePr>
        <p:xfrm>
          <a:off x="146447" y="4557713"/>
          <a:ext cx="4114800" cy="972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53E5440-826D-F9AE-D0EE-11B3C54CE5E4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 flipH="1">
            <a:off x="927497" y="5330429"/>
            <a:ext cx="66675" cy="60722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CBA20289-8C12-8EDA-BADD-E5FD9B2F97A0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 flipH="1">
            <a:off x="927497" y="5289947"/>
            <a:ext cx="6667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8EBF3DE-1854-A54C-D079-E25C02C81F31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H="1" flipV="1">
            <a:off x="3920729" y="5325666"/>
            <a:ext cx="66675" cy="47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963DB71-86B0-3960-A16D-4EC35D8D8C53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 flipH="1">
            <a:off x="3920729" y="5248274"/>
            <a:ext cx="66675" cy="72629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5" name="Google Shape;12;p10">
            <a:extLst>
              <a:ext uri="{FF2B5EF4-FFF2-40B4-BE49-F238E27FC236}">
                <a16:creationId xmlns:a16="http://schemas.microsoft.com/office/drawing/2014/main" id="{C370388C-A2E2-7110-7A32-280506F8718E}"/>
              </a:ext>
            </a:extLst>
          </p:cNvPr>
          <p:cNvSpPr txBox="1"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994173" y="5289947"/>
            <a:ext cx="69056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64646"/>
                </a:solidFill>
              </a14:hiddenFill>
            </a:ext>
          </a:extLst>
        </p:spPr>
        <p:txBody>
          <a:bodyPr spcFirstLastPara="1" vert="horz" wrap="none" lIns="13097" tIns="0" rIns="13097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800" eaLnBrk="1" fontAlgn="auto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A9C7F12-4A04-49F2-BABF-FA2E24093031}" type="datetime'''''4'''''">
              <a:rPr lang="el-GR" altLang="en-US" sz="600" b="1">
                <a:ea typeface="+mn-ea"/>
              </a:rPr>
              <a:pPr defTabSz="685800" eaLnBrk="1" fontAlgn="auto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l-GR" sz="600" b="1" dirty="0">
              <a:highlight>
                <a:srgbClr val="808080"/>
              </a:highlight>
              <a:ea typeface="+mn-ea"/>
            </a:endParaRPr>
          </a:p>
        </p:txBody>
      </p:sp>
      <p:sp>
        <p:nvSpPr>
          <p:cNvPr id="126" name="Google Shape;12;p10">
            <a:extLst>
              <a:ext uri="{FF2B5EF4-FFF2-40B4-BE49-F238E27FC236}">
                <a16:creationId xmlns:a16="http://schemas.microsoft.com/office/drawing/2014/main" id="{F30D999A-585E-ABA7-E964-7749387CABB4}"/>
              </a:ext>
            </a:extLst>
          </p:cNvPr>
          <p:cNvSpPr txBox="1"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994173" y="5207794"/>
            <a:ext cx="111919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</a:extLst>
        </p:spPr>
        <p:txBody>
          <a:bodyPr spcFirstLastPara="1" vert="horz" wrap="none" lIns="13097" tIns="0" rIns="13097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685800" eaLnBrk="1" fontAlgn="auto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D9A1F9-F720-4322-BAF9-83F078EBCBBE}" type="datetime'''1''''''''''''''''''''''''''''''''''''7'">
              <a:rPr lang="el-GR" altLang="en-US" sz="600" b="1">
                <a:solidFill>
                  <a:srgbClr val="FFFFFF">
                    <a:lumMod val="95000"/>
                  </a:srgbClr>
                </a:solidFill>
                <a:ea typeface="+mn-ea"/>
              </a:rPr>
              <a:pPr defTabSz="685800" eaLnBrk="1" fontAlgn="auto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l-GR" sz="600" b="1" dirty="0">
              <a:solidFill>
                <a:srgbClr val="FFFFFF">
                  <a:lumMod val="95000"/>
                </a:srgbClr>
              </a:solidFill>
              <a:highlight>
                <a:srgbClr val="000000"/>
              </a:highlight>
              <a:ea typeface="+mn-ea"/>
            </a:endParaRPr>
          </a:p>
        </p:txBody>
      </p:sp>
      <p:sp>
        <p:nvSpPr>
          <p:cNvPr id="127" name="Google Shape;12;p10">
            <a:extLst>
              <a:ext uri="{FF2B5EF4-FFF2-40B4-BE49-F238E27FC236}">
                <a16:creationId xmlns:a16="http://schemas.microsoft.com/office/drawing/2014/main" id="{147EC663-0296-F969-741B-BDCFD4F4EFE3}"/>
              </a:ext>
            </a:extLst>
          </p:cNvPr>
          <p:cNvSpPr txBox="1"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13160" y="5348287"/>
            <a:ext cx="111919" cy="82154"/>
          </a:xfrm>
          <a:prstGeom prst="rect">
            <a:avLst/>
          </a:prstGeom>
          <a:solidFill>
            <a:srgbClr val="DB536A"/>
          </a:solidFill>
          <a:ln>
            <a:noFill/>
          </a:ln>
          <a:effectLst/>
        </p:spPr>
        <p:txBody>
          <a:bodyPr spcFirstLastPara="1" vert="horz" wrap="none" lIns="13097" tIns="0" rIns="13097" bIns="0" numCol="1" spc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8F61F0-6EA4-4351-833A-D3D2D9A0DFE1}" type="datetime'''3''''''''''''''''''''''''''''''''''''''7'''''''''''''">
              <a:rPr lang="el-GR" altLang="en-US" sz="600" b="1">
                <a:solidFill>
                  <a:srgbClr val="FFFFFF"/>
                </a:solidFill>
                <a:ea typeface="+mn-ea"/>
              </a:rPr>
              <a:pPr algn="ctr" defTabSz="685800" eaLnBrk="1" fontAlgn="auto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el-GR" sz="600" b="1" dirty="0">
              <a:solidFill>
                <a:srgbClr val="FFFFFF"/>
              </a:solidFill>
              <a:ea typeface="+mn-ea"/>
            </a:endParaRPr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765ADF79-1C5C-1774-A49A-5522EE3F615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36997" y="5331619"/>
            <a:ext cx="219075" cy="82154"/>
          </a:xfrm>
          <a:prstGeom prst="rect">
            <a:avLst/>
          </a:prstGeom>
          <a:solidFill>
            <a:srgbClr val="A32020"/>
          </a:solidFill>
          <a:ln>
            <a:noFill/>
          </a:ln>
          <a:effectLst/>
        </p:spPr>
        <p:txBody>
          <a:bodyPr vert="horz" wrap="none" lIns="13097" tIns="0" rIns="13097" bIns="0" numCol="1" spcCol="0" rtlCol="0" anchor="ctr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D466CAD-206E-49A1-965C-35DB42C6A4F4}" type="datetime'1''''.''''''0''''2''''''''''''''''''''5''''''''''''''''''''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.025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9" name="Google Shape;12;p10">
            <a:extLst>
              <a:ext uri="{FF2B5EF4-FFF2-40B4-BE49-F238E27FC236}">
                <a16:creationId xmlns:a16="http://schemas.microsoft.com/office/drawing/2014/main" id="{4BF51F44-7B7E-D402-56FE-57936913CBC9}"/>
              </a:ext>
            </a:extLst>
          </p:cNvPr>
          <p:cNvSpPr txBox="1"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16744" y="5455444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8F2FC62C-BBA5-463C-857F-424CF6C386C6}" type="datetime'''''''''''''''2''''''''02''''''''''''''''''''''''''''''''1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l-GR" sz="600" b="1" dirty="0">
              <a:ea typeface="+mn-ea"/>
            </a:endParaRPr>
          </a:p>
        </p:txBody>
      </p:sp>
      <p:sp>
        <p:nvSpPr>
          <p:cNvPr id="130" name="Google Shape;12;p10">
            <a:extLst>
              <a:ext uri="{FF2B5EF4-FFF2-40B4-BE49-F238E27FC236}">
                <a16:creationId xmlns:a16="http://schemas.microsoft.com/office/drawing/2014/main" id="{493DE253-DDBC-3AC1-98F9-9C8E0A823E25}"/>
              </a:ext>
            </a:extLst>
          </p:cNvPr>
          <p:cNvSpPr txBox="1"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614488" y="5455444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167E6F19-515A-4D43-9B5E-E8D4E2E637DF}" type="datetime'''''''''''2''''''''''''''''''0''''2''''''''''''2''''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el-GR" sz="600" b="1" dirty="0">
              <a:ea typeface="+mn-ea"/>
            </a:endParaRPr>
          </a:p>
        </p:txBody>
      </p:sp>
      <p:sp>
        <p:nvSpPr>
          <p:cNvPr id="131" name="Google Shape;12;p10">
            <a:extLst>
              <a:ext uri="{FF2B5EF4-FFF2-40B4-BE49-F238E27FC236}">
                <a16:creationId xmlns:a16="http://schemas.microsoft.com/office/drawing/2014/main" id="{A9CF73B6-FBFB-D7CF-AD38-A9EB03DEC957}"/>
              </a:ext>
            </a:extLst>
          </p:cNvPr>
          <p:cNvSpPr txBox="1"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612231" y="5455444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856F56C8-7770-483F-A2A3-6A515C3635EC}" type="datetime'''''''''''''''''''''''''''''''''''''''''2''''0''''''''23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el-GR" sz="600" b="1" dirty="0">
              <a:ea typeface="+mn-ea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9D6E12DB-7148-1EDA-AB2B-ED996B3F7E0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452812" y="5331619"/>
            <a:ext cx="219075" cy="82154"/>
          </a:xfrm>
          <a:prstGeom prst="rect">
            <a:avLst/>
          </a:prstGeom>
          <a:solidFill>
            <a:srgbClr val="464646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5BFAFEDE-E99F-4166-8DB0-1EBF9191A9D6}" type="datetime'''''''''''''''''''1''''''''.''''''''''''2''''''''''05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.205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1499940-D772-3D64-A2E8-EC6E79E2526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762376" y="5301853"/>
            <a:ext cx="154781" cy="82154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4452DF52-3B69-44A3-BAC3-EED90A92D7B0}" type="datetime'''6''''''''''''''''''''''''6''''''6'''">
              <a:rPr lang="el-GR" altLang="en-US" sz="600">
                <a:solidFill>
                  <a:srgbClr val="FFFFFF"/>
                </a:solidFill>
                <a:latin typeface="Arial"/>
              </a:rPr>
              <a:pPr indent="0" algn="ctr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666</a:t>
            </a:fld>
            <a:endParaRPr lang="el-GR" sz="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FAAA28B5-F203-B2E1-484E-840F110FFEFE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987404" y="5207794"/>
            <a:ext cx="69056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13097" tIns="0" rIns="13097" bIns="0" rtlCol="0" anchor="ctr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75F96EA-9E7F-40B9-B3DA-110B17FE1E1B}" type="datetime'''''''''''''''''2'">
              <a:rPr lang="el-GR" altLang="en-US" sz="600">
                <a:solidFill>
                  <a:srgbClr val="000000"/>
                </a:solidFill>
                <a:latin typeface="Arial"/>
              </a:rPr>
              <a:pPr indent="0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Google Shape;12;p10">
            <a:extLst>
              <a:ext uri="{FF2B5EF4-FFF2-40B4-BE49-F238E27FC236}">
                <a16:creationId xmlns:a16="http://schemas.microsoft.com/office/drawing/2014/main" id="{720C1D3B-D5B4-A2AD-71D8-5395F2AE127A}"/>
              </a:ext>
            </a:extLst>
          </p:cNvPr>
          <p:cNvSpPr txBox="1"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609975" y="5455444"/>
            <a:ext cx="18097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</a:pPr>
            <a:fld id="{6800E326-45C0-4F97-A7BA-F0A3BB7187B1}" type="datetime'2''''''''''''''''''''''''''02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el-GR" sz="600" b="1" dirty="0">
              <a:ea typeface="+mn-ea"/>
            </a:endParaRPr>
          </a:p>
        </p:txBody>
      </p:sp>
      <p:sp>
        <p:nvSpPr>
          <p:cNvPr id="138" name="Google Shape;12;p10">
            <a:extLst>
              <a:ext uri="{FF2B5EF4-FFF2-40B4-BE49-F238E27FC236}">
                <a16:creationId xmlns:a16="http://schemas.microsoft.com/office/drawing/2014/main" id="{95AC102D-D0C6-3542-F0E5-9B9803395263}"/>
              </a:ext>
            </a:extLst>
          </p:cNvPr>
          <p:cNvSpPr txBox="1"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597694" y="5249466"/>
            <a:ext cx="219075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13097" tIns="0" rIns="13097" bIns="0" numCol="1" spcCol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F011231-C61F-4102-A4EF-AD164DD641AC}" type="datetime'1''''''''''''''''''''''''.''''''''''''''0''83'''''''''">
              <a:rPr lang="el-GR" altLang="en-US" sz="600" b="1">
                <a:ea typeface="+mn-ea"/>
              </a:rPr>
              <a:pPr algn="ctr" defTabSz="685800" eaLnBrk="1" fontAlgn="auto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083</a:t>
            </a:fld>
            <a:endParaRPr lang="el-GR" sz="600" b="1" dirty="0">
              <a:ea typeface="+mn-ea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C490F2EC-A2A5-2B5C-5795-B39A2484BB1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574006" y="4595812"/>
            <a:ext cx="261938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D555753B-B031-4929-8BDF-83A321E897DD}" type="datetime'''2''''''1''.9''''''''''''''''''''3''''''''0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1.930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DCFF85C1-3F45-C314-B9C3-5B961F7155D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571750" y="4723210"/>
            <a:ext cx="261938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31895A1C-0829-4634-8343-4289E429A87A}" type="datetime'''1''''''''''''''7''.''''''''''''''8''''9''''''''4''''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17.894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0146E9A5-A97F-78B7-1C06-BC46E2C8D349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590924" y="5219700"/>
            <a:ext cx="219075" cy="82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3097" tIns="0" rIns="13097" bIns="0" numCol="1" spcCol="0" rtlCol="0" anchor="b" anchorCtr="0">
            <a:noAutofit/>
          </a:bodyPr>
          <a:lstStyle>
            <a:lvl1pPr marL="0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Tx/>
              <a:buFontTx/>
              <a:buNone/>
              <a:tabLst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2470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•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493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-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0740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◦"/>
              <a:defRPr sz="977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09879" indent="-102470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Font typeface="Georgia" pitchFamily="18" charset="0"/>
              <a:buChar char="›"/>
              <a:defRPr sz="977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197035" marR="0" indent="-197035" algn="l" defTabSz="878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394068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alpha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591102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SzPct val="100000"/>
              <a:buFont typeface="+mj-lt"/>
              <a:buAutoNum type="romanLcPeriod"/>
              <a:defRPr sz="949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197035" algn="l" defTabSz="87814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17"/>
              </a:spcAft>
              <a:buFont typeface="Arial" pitchFamily="34" charset="0"/>
              <a:buNone/>
              <a:defRPr sz="949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9C708D7-0739-4E60-83EC-3F1A6E3C4C53}" type="datetime'''''''''''2''.''''2''''''04'''''''''''''''''''''''''''''">
              <a:rPr lang="el-GR" altLang="en-US" sz="600">
                <a:solidFill>
                  <a:srgbClr val="000000"/>
                </a:solidFill>
                <a:latin typeface="Arial"/>
              </a:rPr>
              <a:pPr indent="0" algn="ctr" defTabSz="658605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2.204</a:t>
            </a:fld>
            <a:endParaRPr lang="el-GR" sz="6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AA2E3BA3-4A4A-E27A-C29B-D2CEED5B9DA1}"/>
              </a:ext>
            </a:extLst>
          </p:cNvPr>
          <p:cNvGraphicFramePr/>
          <p:nvPr>
            <p:custDataLst>
              <p:tags r:id="rId59"/>
            </p:custDataLst>
          </p:nvPr>
        </p:nvGraphicFramePr>
        <p:xfrm>
          <a:off x="4963717" y="2657476"/>
          <a:ext cx="3945731" cy="1421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sp>
        <p:nvSpPr>
          <p:cNvPr id="24" name="Google Shape;12;p10">
            <a:extLst>
              <a:ext uri="{FF2B5EF4-FFF2-40B4-BE49-F238E27FC236}">
                <a16:creationId xmlns:a16="http://schemas.microsoft.com/office/drawing/2014/main" id="{2D411737-F80F-749C-25DD-DC59119E0928}"/>
              </a:ext>
            </a:extLst>
          </p:cNvPr>
          <p:cNvSpPr txBox="1"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087541" y="3989785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0AA16EA1-1D3E-4B9F-A37C-A5BE900E1AEF}" type="datetime'''''14''''''''/3''/''''''''''''''''''''2''''0''''2''''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14/3/2024</a:t>
            </a:fld>
            <a:endParaRPr lang="el-GR" sz="600" b="1" dirty="0">
              <a:ea typeface="+mn-ea"/>
            </a:endParaRPr>
          </a:p>
        </p:txBody>
      </p:sp>
      <p:sp>
        <p:nvSpPr>
          <p:cNvPr id="25" name="Google Shape;12;p10">
            <a:extLst>
              <a:ext uri="{FF2B5EF4-FFF2-40B4-BE49-F238E27FC236}">
                <a16:creationId xmlns:a16="http://schemas.microsoft.com/office/drawing/2014/main" id="{D1F1FAC3-8503-37BE-0A11-4C6FF067A772}"/>
              </a:ext>
            </a:extLst>
          </p:cNvPr>
          <p:cNvSpPr txBox="1"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587603" y="3989785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85B2FE43-5746-4277-92EA-4ACEA6C9C7C4}" type="datetime'''''''''''''9''''''''''''/''''4''/2''''0''''''''2''''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9/4/2024</a:t>
            </a:fld>
            <a:endParaRPr lang="el-GR" sz="600" b="1" dirty="0">
              <a:ea typeface="+mn-ea"/>
            </a:endParaRPr>
          </a:p>
        </p:txBody>
      </p:sp>
      <p:sp>
        <p:nvSpPr>
          <p:cNvPr id="27" name="Google Shape;12;p10">
            <a:extLst>
              <a:ext uri="{FF2B5EF4-FFF2-40B4-BE49-F238E27FC236}">
                <a16:creationId xmlns:a16="http://schemas.microsoft.com/office/drawing/2014/main" id="{C7194909-1A20-BA8E-AEEF-CC95AEE108E3}"/>
              </a:ext>
            </a:extLst>
          </p:cNvPr>
          <p:cNvSpPr txBox="1"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6065044" y="3989785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5B0AB289-2638-4426-B936-777E94CD7FAF}" type="datetime'''8''''''''/5/''''''''''2''''''''''''''''''''02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8/5/2024</a:t>
            </a:fld>
            <a:endParaRPr lang="el-GR" sz="600" b="1" dirty="0">
              <a:ea typeface="+mn-ea"/>
            </a:endParaRPr>
          </a:p>
        </p:txBody>
      </p:sp>
      <p:sp>
        <p:nvSpPr>
          <p:cNvPr id="28" name="Google Shape;12;p10">
            <a:extLst>
              <a:ext uri="{FF2B5EF4-FFF2-40B4-BE49-F238E27FC236}">
                <a16:creationId xmlns:a16="http://schemas.microsoft.com/office/drawing/2014/main" id="{EA8E8059-F655-C995-DEDB-11EA578C56E6}"/>
              </a:ext>
            </a:extLst>
          </p:cNvPr>
          <p:cNvSpPr txBox="1"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6542485" y="3989785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D2D416A9-7CE3-4F1D-89D0-09D894C26BD0}" type="datetime'''''4''/''''''''6''''''''''/''''''''''2''''0''2''''''''''4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4/6/2024</a:t>
            </a:fld>
            <a:endParaRPr lang="el-GR" sz="600" b="1" dirty="0">
              <a:ea typeface="+mn-ea"/>
            </a:endParaRPr>
          </a:p>
        </p:txBody>
      </p:sp>
      <p:sp>
        <p:nvSpPr>
          <p:cNvPr id="29" name="Google Shape;12;p10">
            <a:extLst>
              <a:ext uri="{FF2B5EF4-FFF2-40B4-BE49-F238E27FC236}">
                <a16:creationId xmlns:a16="http://schemas.microsoft.com/office/drawing/2014/main" id="{7C0B5F21-9D31-3D75-0C14-C687F7640BF9}"/>
              </a:ext>
            </a:extLst>
          </p:cNvPr>
          <p:cNvSpPr txBox="1"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019925" y="3989785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D14A827E-8640-4A6E-ABD1-01FBC4838922}" type="datetime'3''''/''''''''7''''''''''''''''''''/2''''''0''24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3/7/2024</a:t>
            </a:fld>
            <a:endParaRPr lang="el-GR" sz="600" b="1" dirty="0">
              <a:ea typeface="+mn-ea"/>
            </a:endParaRPr>
          </a:p>
        </p:txBody>
      </p:sp>
      <p:sp>
        <p:nvSpPr>
          <p:cNvPr id="30" name="Google Shape;12;p10">
            <a:extLst>
              <a:ext uri="{FF2B5EF4-FFF2-40B4-BE49-F238E27FC236}">
                <a16:creationId xmlns:a16="http://schemas.microsoft.com/office/drawing/2014/main" id="{600DBC77-1730-8E6C-39A0-D5EAF4A0603E}"/>
              </a:ext>
            </a:extLst>
          </p:cNvPr>
          <p:cNvSpPr txBox="1"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477125" y="3989785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23C61CC5-893E-440C-8999-0F076BF095DD}" type="datetime'''''''''31''''/''7''/''''20''''2''''''''''''''''''''''''''4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31/7/2024</a:t>
            </a:fld>
            <a:endParaRPr lang="el-GR" sz="600" b="1" dirty="0">
              <a:ea typeface="+mn-ea"/>
            </a:endParaRPr>
          </a:p>
        </p:txBody>
      </p:sp>
      <p:sp>
        <p:nvSpPr>
          <p:cNvPr id="31" name="Google Shape;12;p10">
            <a:extLst>
              <a:ext uri="{FF2B5EF4-FFF2-40B4-BE49-F238E27FC236}">
                <a16:creationId xmlns:a16="http://schemas.microsoft.com/office/drawing/2014/main" id="{B2667667-87F8-4FED-6725-F06FED8C35C0}"/>
              </a:ext>
            </a:extLst>
          </p:cNvPr>
          <p:cNvSpPr txBox="1"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7954566" y="3989785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D9AD15AB-3526-4113-BD37-922AF420719E}" type="datetime'''''''''2''''''''5''''/''8''''/''''''''''20''''''24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25/8/2024</a:t>
            </a:fld>
            <a:endParaRPr lang="el-GR" sz="600" b="1" dirty="0">
              <a:ea typeface="+mn-ea"/>
            </a:endParaRPr>
          </a:p>
        </p:txBody>
      </p:sp>
      <p:sp>
        <p:nvSpPr>
          <p:cNvPr id="33" name="Google Shape;12;p10">
            <a:extLst>
              <a:ext uri="{FF2B5EF4-FFF2-40B4-BE49-F238E27FC236}">
                <a16:creationId xmlns:a16="http://schemas.microsoft.com/office/drawing/2014/main" id="{39E266AD-1B50-0805-C808-0E18C9606FF4}"/>
              </a:ext>
            </a:extLst>
          </p:cNvPr>
          <p:cNvSpPr txBox="1"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432006" y="3989785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A99B620D-8CD5-4459-BFBF-EC2BA0FCF03A}" type="datetime'''2''''4''''''''''''''/''9''''/''''''2''''0''''''2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24/9/2024</a:t>
            </a:fld>
            <a:endParaRPr lang="el-GR" sz="600" b="1" dirty="0">
              <a:ea typeface="+mn-ea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A1F86C7D-B534-4334-8002-ECC965DEF70B}"/>
              </a:ext>
            </a:extLst>
          </p:cNvPr>
          <p:cNvGraphicFramePr/>
          <p:nvPr>
            <p:custDataLst>
              <p:tags r:id="rId68"/>
            </p:custDataLst>
          </p:nvPr>
        </p:nvGraphicFramePr>
        <p:xfrm>
          <a:off x="4963717" y="4538663"/>
          <a:ext cx="3945731" cy="9917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sp>
        <p:nvSpPr>
          <p:cNvPr id="35" name="Google Shape;12;p10">
            <a:extLst>
              <a:ext uri="{FF2B5EF4-FFF2-40B4-BE49-F238E27FC236}">
                <a16:creationId xmlns:a16="http://schemas.microsoft.com/office/drawing/2014/main" id="{C4C6BFD2-E209-830A-88C2-7A67DC8FE517}"/>
              </a:ext>
            </a:extLst>
          </p:cNvPr>
          <p:cNvSpPr txBox="1"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087541" y="5441156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F5B6EA24-DDAA-4C24-9142-C0D3377BD8D0}" type="datetime'''''''''''''1''''''''''4/3''''/''''''''''''''''20''24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14/3/2024</a:t>
            </a:fld>
            <a:endParaRPr lang="el-GR" sz="600" b="1" dirty="0">
              <a:ea typeface="+mn-ea"/>
            </a:endParaRPr>
          </a:p>
        </p:txBody>
      </p:sp>
      <p:sp>
        <p:nvSpPr>
          <p:cNvPr id="36" name="Google Shape;12;p10">
            <a:extLst>
              <a:ext uri="{FF2B5EF4-FFF2-40B4-BE49-F238E27FC236}">
                <a16:creationId xmlns:a16="http://schemas.microsoft.com/office/drawing/2014/main" id="{D0BE3EA1-4AD6-036C-738B-BECBAA83799A}"/>
              </a:ext>
            </a:extLst>
          </p:cNvPr>
          <p:cNvSpPr txBox="1"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587603" y="5441156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2E051FEF-BFF8-47AC-882D-EF9CE78DBD63}" type="datetime'''''''''''9''/4/''''''''2''''0''''2''''''4''''''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9/4/2024</a:t>
            </a:fld>
            <a:endParaRPr lang="el-GR" sz="600" b="1" dirty="0">
              <a:ea typeface="+mn-ea"/>
            </a:endParaRPr>
          </a:p>
        </p:txBody>
      </p:sp>
      <p:sp>
        <p:nvSpPr>
          <p:cNvPr id="37" name="Google Shape;12;p10">
            <a:extLst>
              <a:ext uri="{FF2B5EF4-FFF2-40B4-BE49-F238E27FC236}">
                <a16:creationId xmlns:a16="http://schemas.microsoft.com/office/drawing/2014/main" id="{2EE3CB67-87F5-4DE3-BB7E-BF5C3BA344C9}"/>
              </a:ext>
            </a:extLst>
          </p:cNvPr>
          <p:cNvSpPr txBox="1"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065044" y="5441156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24908A50-8A7D-407A-998A-50E021FC55ED}" type="datetime'''8''''/''''''5''/''2''''02''''4''''''''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8/5/2024</a:t>
            </a:fld>
            <a:endParaRPr lang="el-GR" sz="600" b="1" dirty="0">
              <a:ea typeface="+mn-ea"/>
            </a:endParaRPr>
          </a:p>
        </p:txBody>
      </p:sp>
      <p:sp>
        <p:nvSpPr>
          <p:cNvPr id="38" name="Google Shape;12;p10">
            <a:extLst>
              <a:ext uri="{FF2B5EF4-FFF2-40B4-BE49-F238E27FC236}">
                <a16:creationId xmlns:a16="http://schemas.microsoft.com/office/drawing/2014/main" id="{0922147E-C274-BB7A-7FED-81F721B835A0}"/>
              </a:ext>
            </a:extLst>
          </p:cNvPr>
          <p:cNvSpPr txBox="1"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542485" y="5441156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0A0C9D1B-10FD-49AF-AD7F-6B7F12A16E51}" type="datetime'''''4/''''''6''/''2''''0''''''2''''''''''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4/6/2024</a:t>
            </a:fld>
            <a:endParaRPr lang="el-GR" sz="600" b="1" dirty="0">
              <a:ea typeface="+mn-ea"/>
            </a:endParaRPr>
          </a:p>
        </p:txBody>
      </p:sp>
      <p:sp>
        <p:nvSpPr>
          <p:cNvPr id="39" name="Google Shape;12;p10">
            <a:extLst>
              <a:ext uri="{FF2B5EF4-FFF2-40B4-BE49-F238E27FC236}">
                <a16:creationId xmlns:a16="http://schemas.microsoft.com/office/drawing/2014/main" id="{09790460-D429-AC97-E884-06D2635F0D43}"/>
              </a:ext>
            </a:extLst>
          </p:cNvPr>
          <p:cNvSpPr txBox="1"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019925" y="5441156"/>
            <a:ext cx="309563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5EC7B5EF-7372-4C05-9625-2CBDA9BF1541}" type="datetime'''''''3''/''''''''7''''/''''''''''''2''''0''''''''2''''4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3/7/2024</a:t>
            </a:fld>
            <a:endParaRPr lang="el-GR" sz="600" b="1" dirty="0">
              <a:ea typeface="+mn-ea"/>
            </a:endParaRPr>
          </a:p>
        </p:txBody>
      </p:sp>
      <p:sp>
        <p:nvSpPr>
          <p:cNvPr id="40" name="Google Shape;12;p10">
            <a:extLst>
              <a:ext uri="{FF2B5EF4-FFF2-40B4-BE49-F238E27FC236}">
                <a16:creationId xmlns:a16="http://schemas.microsoft.com/office/drawing/2014/main" id="{00BD6ECA-E0A6-F7C9-25A6-0A40048115D4}"/>
              </a:ext>
            </a:extLst>
          </p:cNvPr>
          <p:cNvSpPr txBox="1"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7477125" y="5441156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0342AF80-A707-4A78-9C79-2EDEA48C8345}" type="datetime'''3''''''''1''/''''''''7''''''''''''''''''/''''''''''''20''24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31/7/2024</a:t>
            </a:fld>
            <a:endParaRPr lang="el-GR" sz="600" b="1" dirty="0">
              <a:ea typeface="+mn-ea"/>
            </a:endParaRPr>
          </a:p>
        </p:txBody>
      </p:sp>
      <p:sp>
        <p:nvSpPr>
          <p:cNvPr id="41" name="Google Shape;12;p10">
            <a:extLst>
              <a:ext uri="{FF2B5EF4-FFF2-40B4-BE49-F238E27FC236}">
                <a16:creationId xmlns:a16="http://schemas.microsoft.com/office/drawing/2014/main" id="{33863F18-A921-9B99-CB56-68A001154AA4}"/>
              </a:ext>
            </a:extLst>
          </p:cNvPr>
          <p:cNvSpPr txBox="1"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7954566" y="5441156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C6CD3476-829E-4878-8A12-B5E8DF093B42}" type="datetime'''''''25''''''/''''''8''''''/2''0''2''''''''''''''''4''''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25/8/2024</a:t>
            </a:fld>
            <a:endParaRPr lang="el-GR" sz="600" b="1" dirty="0">
              <a:ea typeface="+mn-ea"/>
            </a:endParaRPr>
          </a:p>
        </p:txBody>
      </p:sp>
      <p:sp>
        <p:nvSpPr>
          <p:cNvPr id="42" name="Google Shape;12;p10">
            <a:extLst>
              <a:ext uri="{FF2B5EF4-FFF2-40B4-BE49-F238E27FC236}">
                <a16:creationId xmlns:a16="http://schemas.microsoft.com/office/drawing/2014/main" id="{2D9203A9-8D1B-3EC7-618D-14C4130FECD3}"/>
              </a:ext>
            </a:extLst>
          </p:cNvPr>
          <p:cNvSpPr txBox="1"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8432006" y="5441156"/>
            <a:ext cx="352425" cy="91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spcFirstLastPara="1" vert="horz" wrap="none" lIns="0" tIns="0" rIns="0" bIns="0" numCol="1" spc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fld id="{555D6790-6587-4638-9C88-28761678C91A}" type="datetime'24''''''''''/9''''/2''''''''''''''''''''0''''''2''4'''">
              <a:rPr lang="el-GR" altLang="en-US" sz="600" b="1">
                <a:ea typeface="+mn-ea"/>
              </a:rPr>
              <a:pPr algn="ctr" defTabSz="685800" eaLnBrk="1" fontAlgn="auto" hangingPunct="1">
                <a:spcBef>
                  <a:spcPct val="0"/>
                </a:spcBef>
                <a:spcAft>
                  <a:spcPct val="0"/>
                </a:spcAft>
                <a:defRPr/>
              </a:pPr>
              <a:t>24/9/2024</a:t>
            </a:fld>
            <a:endParaRPr lang="el-GR" sz="600" b="1" dirty="0">
              <a:ea typeface="+mn-ea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6D5322D-9935-75B4-1C83-849B62449178}"/>
              </a:ext>
            </a:extLst>
          </p:cNvPr>
          <p:cNvSpPr/>
          <p:nvPr/>
        </p:nvSpPr>
        <p:spPr>
          <a:xfrm>
            <a:off x="5484559" y="2583235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6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633D4B7-777C-DAAA-AA3B-99848CB70874}"/>
              </a:ext>
            </a:extLst>
          </p:cNvPr>
          <p:cNvSpPr/>
          <p:nvPr/>
        </p:nvSpPr>
        <p:spPr>
          <a:xfrm>
            <a:off x="5490262" y="4500933"/>
            <a:ext cx="507206" cy="101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863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64C642E-A003-7A29-7E14-0B611BC27700}"/>
              </a:ext>
            </a:extLst>
          </p:cNvPr>
          <p:cNvSpPr/>
          <p:nvPr/>
        </p:nvSpPr>
        <p:spPr>
          <a:xfrm>
            <a:off x="5959711" y="2583235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-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22BE487-8F01-829A-0C65-97B8035829B2}"/>
              </a:ext>
            </a:extLst>
          </p:cNvPr>
          <p:cNvSpPr/>
          <p:nvPr/>
        </p:nvSpPr>
        <p:spPr>
          <a:xfrm>
            <a:off x="5972988" y="4491501"/>
            <a:ext cx="507206" cy="101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677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C201742-4682-CAEE-60BE-075CC858A78D}"/>
              </a:ext>
            </a:extLst>
          </p:cNvPr>
          <p:cNvSpPr/>
          <p:nvPr/>
        </p:nvSpPr>
        <p:spPr>
          <a:xfrm>
            <a:off x="6445492" y="2583235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28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E85F536-F067-9D4D-E373-E7F6ABB9913F}"/>
              </a:ext>
            </a:extLst>
          </p:cNvPr>
          <p:cNvSpPr/>
          <p:nvPr/>
        </p:nvSpPr>
        <p:spPr>
          <a:xfrm>
            <a:off x="6413703" y="4493786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149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30EAD6E-5C82-910E-ED06-F36664DEE9E5}"/>
              </a:ext>
            </a:extLst>
          </p:cNvPr>
          <p:cNvSpPr/>
          <p:nvPr/>
        </p:nvSpPr>
        <p:spPr>
          <a:xfrm>
            <a:off x="6914179" y="2583235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1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F1EC972-C8C3-6E39-79DD-D006F5324FC5}"/>
              </a:ext>
            </a:extLst>
          </p:cNvPr>
          <p:cNvSpPr/>
          <p:nvPr/>
        </p:nvSpPr>
        <p:spPr>
          <a:xfrm>
            <a:off x="6897766" y="4491337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1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98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863D197-C4DF-2069-001F-B67CC02DF44B}"/>
              </a:ext>
            </a:extLst>
          </p:cNvPr>
          <p:cNvSpPr/>
          <p:nvPr/>
        </p:nvSpPr>
        <p:spPr>
          <a:xfrm>
            <a:off x="7404971" y="2582923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-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14A6D62-AE32-F3CC-ED40-73E59205818F}"/>
              </a:ext>
            </a:extLst>
          </p:cNvPr>
          <p:cNvSpPr/>
          <p:nvPr/>
        </p:nvSpPr>
        <p:spPr>
          <a:xfrm>
            <a:off x="7369774" y="4488725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141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7C6458A-4354-6D58-90D2-613C46E0CEFD}"/>
              </a:ext>
            </a:extLst>
          </p:cNvPr>
          <p:cNvSpPr/>
          <p:nvPr/>
        </p:nvSpPr>
        <p:spPr>
          <a:xfrm>
            <a:off x="7847728" y="4493786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44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C8ADEC6-3481-2E6D-29F4-7CF9AC63FFD2}"/>
              </a:ext>
            </a:extLst>
          </p:cNvPr>
          <p:cNvSpPr/>
          <p:nvPr/>
        </p:nvSpPr>
        <p:spPr>
          <a:xfrm>
            <a:off x="7904043" y="2583755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-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829EB63-43EF-A350-FAC3-EBD251CF301B}"/>
              </a:ext>
            </a:extLst>
          </p:cNvPr>
          <p:cNvSpPr/>
          <p:nvPr/>
        </p:nvSpPr>
        <p:spPr>
          <a:xfrm>
            <a:off x="8356316" y="2577488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-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0F3D4BAA-847D-D838-AC9F-EB3996672A84}"/>
              </a:ext>
            </a:extLst>
          </p:cNvPr>
          <p:cNvSpPr/>
          <p:nvPr/>
        </p:nvSpPr>
        <p:spPr>
          <a:xfrm>
            <a:off x="8348989" y="4498846"/>
            <a:ext cx="507206" cy="1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600" b="0" dirty="0">
                <a:solidFill>
                  <a:srgbClr val="000000"/>
                </a:solidFill>
                <a:latin typeface="Arial"/>
              </a:rPr>
              <a:t>(+</a:t>
            </a:r>
            <a:r>
              <a:rPr lang="en-US" sz="600" b="0" dirty="0">
                <a:solidFill>
                  <a:srgbClr val="000000"/>
                </a:solidFill>
                <a:latin typeface="Arial"/>
              </a:rPr>
              <a:t>261</a:t>
            </a:r>
            <a:r>
              <a:rPr lang="el-GR" sz="600" b="0" dirty="0">
                <a:solidFill>
                  <a:srgbClr val="000000"/>
                </a:solidFill>
                <a:latin typeface="Arial"/>
              </a:rPr>
              <a:t>)</a:t>
            </a:r>
            <a:r>
              <a:rPr lang="el-GR" sz="600" b="0" kern="0" baseline="30000" dirty="0">
                <a:solidFill>
                  <a:srgbClr val="000000"/>
                </a:solidFill>
                <a:latin typeface="Arial"/>
              </a:rPr>
              <a:t> </a:t>
            </a:r>
            <a:endParaRPr lang="el-GR" sz="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7150628" y="6525344"/>
            <a:ext cx="1901405" cy="404664"/>
          </a:xfrm>
        </p:spPr>
        <p:txBody>
          <a:bodyPr/>
          <a:lstStyle/>
          <a:p>
            <a:fld id="{FEBD7F86-1881-4698-8703-FB80B0800997}" type="slidenum">
              <a:rPr lang="en-GB" sz="1400" b="0" smtClean="0">
                <a:latin typeface="Georgia" panose="02040502050405020303" pitchFamily="18" charset="0"/>
              </a:rPr>
              <a:pPr/>
              <a:t>5</a:t>
            </a:fld>
            <a:endParaRPr lang="en-GB" sz="1400" b="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880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204864"/>
            <a:ext cx="8134672" cy="1656184"/>
          </a:xfrm>
        </p:spPr>
        <p:txBody>
          <a:bodyPr/>
          <a:lstStyle/>
          <a:p>
            <a:pPr algn="l"/>
            <a:r>
              <a:rPr lang="en-US" sz="3200" b="1" dirty="0">
                <a:solidFill>
                  <a:schemeClr val="tx1"/>
                </a:solidFill>
                <a:latin typeface="Georgia" panose="02040502050405020303" pitchFamily="18" charset="0"/>
              </a:rPr>
              <a:t>3. OCW (L. 4738/2020) 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3B7A75-CF56-4DC8-ADB7-A02FCFF7C2C2}" type="slidenum">
              <a:rPr lang="el-GR" altLang="el-GR" smtClean="0">
                <a:solidFill>
                  <a:schemeClr val="tx1"/>
                </a:solidFill>
                <a:latin typeface="Georgia" panose="02040502050405020303" pitchFamily="18" charset="0"/>
              </a:rPr>
              <a:pPr/>
              <a:t>6</a:t>
            </a:fld>
            <a:endParaRPr lang="el-GR" altLang="el-GR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737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CF5A9-5194-47D8-BF81-DFB17922AC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9626" y="975663"/>
          <a:ext cx="1136" cy="11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CF5A9-5194-47D8-BF81-DFB17922A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9626" y="975663"/>
                        <a:ext cx="1136" cy="11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ECFB652-BBC9-DD58-EA38-E255B6B602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285059"/>
            <a:ext cx="9144000" cy="437447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3CCE8E5-8303-4F22-9282-0A5FF3514740}"/>
              </a:ext>
            </a:extLst>
          </p:cNvPr>
          <p:cNvSpPr/>
          <p:nvPr/>
        </p:nvSpPr>
        <p:spPr bwMode="ltGray">
          <a:xfrm>
            <a:off x="295712" y="5724094"/>
            <a:ext cx="302753" cy="15625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57CD93-2FBB-47CF-9630-18E92D823A06}"/>
              </a:ext>
            </a:extLst>
          </p:cNvPr>
          <p:cNvSpPr/>
          <p:nvPr/>
        </p:nvSpPr>
        <p:spPr bwMode="ltGray">
          <a:xfrm>
            <a:off x="395951" y="5724094"/>
            <a:ext cx="202514" cy="131886"/>
          </a:xfrm>
          <a:prstGeom prst="rect">
            <a:avLst/>
          </a:prstGeom>
          <a:solidFill>
            <a:schemeClr val="bg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F3B5CD-2807-4609-BC0B-29A0FD44CB2D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08488" y="974524"/>
            <a:ext cx="113633" cy="113633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544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E" sz="859" b="0" dirty="0">
              <a:solidFill>
                <a:srgbClr val="FFFFFF"/>
              </a:solidFill>
              <a:latin typeface="Helvetica Neue Light" panose="02000403000000020004"/>
              <a:sym typeface="Helvetica Neue Light" panose="02000403000000020004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B49FCA60-9D65-4BDC-9E6E-DB90CEADA0F0}"/>
              </a:ext>
            </a:extLst>
          </p:cNvPr>
          <p:cNvSpPr txBox="1">
            <a:spLocks/>
          </p:cNvSpPr>
          <p:nvPr/>
        </p:nvSpPr>
        <p:spPr>
          <a:xfrm>
            <a:off x="488359" y="1085563"/>
            <a:ext cx="8320286" cy="199496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54482" fontAlgn="auto">
              <a:spcAft>
                <a:spcPts val="0"/>
              </a:spcAft>
              <a:defRPr/>
            </a:pPr>
            <a:r>
              <a:rPr lang="en-US" altLang="fi-FI" sz="1429" dirty="0">
                <a:solidFill>
                  <a:srgbClr val="000000"/>
                </a:solidFill>
                <a:latin typeface="Georgia"/>
              </a:rPr>
              <a:t>3.1 </a:t>
            </a:r>
            <a:r>
              <a:rPr lang="en-US" altLang="fi-FI" sz="1429" dirty="0" smtClean="0">
                <a:solidFill>
                  <a:srgbClr val="000000"/>
                </a:solidFill>
                <a:latin typeface="Georgia"/>
              </a:rPr>
              <a:t>Aggregated </a:t>
            </a:r>
            <a:r>
              <a:rPr lang="en-US" altLang="fi-FI" sz="1429" dirty="0">
                <a:solidFill>
                  <a:srgbClr val="000000"/>
                </a:solidFill>
                <a:latin typeface="Georgia"/>
              </a:rPr>
              <a:t>OCW Statistics from the start of the Program to date</a:t>
            </a:r>
            <a:endParaRPr lang="el-GR" altLang="fi-FI" sz="1429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CC5562A-2072-A997-D075-A5F67AF768FB}"/>
              </a:ext>
            </a:extLst>
          </p:cNvPr>
          <p:cNvSpPr txBox="1">
            <a:spLocks/>
          </p:cNvSpPr>
          <p:nvPr/>
        </p:nvSpPr>
        <p:spPr>
          <a:xfrm>
            <a:off x="7355241" y="5621666"/>
            <a:ext cx="1263236" cy="981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482" fontAlgn="auto">
              <a:spcBef>
                <a:spcPts val="0"/>
              </a:spcBef>
              <a:spcAft>
                <a:spcPts val="0"/>
              </a:spcAft>
              <a:defRPr/>
            </a:pPr>
            <a:fld id="{7870704B-CE94-48CC-AF30-84932A1262A7}" type="slidenum">
              <a:rPr lang="en-GB" sz="537" b="0">
                <a:solidFill>
                  <a:srgbClr val="000000"/>
                </a:solidFill>
                <a:latin typeface="Arial"/>
              </a:rPr>
              <a:pPr defTabSz="654482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GB" sz="573" b="0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DE25DD-73B8-54DE-3B2B-52E80049FF17}"/>
              </a:ext>
            </a:extLst>
          </p:cNvPr>
          <p:cNvSpPr txBox="1"/>
          <p:nvPr/>
        </p:nvSpPr>
        <p:spPr>
          <a:xfrm>
            <a:off x="259864" y="5783470"/>
            <a:ext cx="684068" cy="916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596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986859" y="6486116"/>
            <a:ext cx="1080120" cy="404663"/>
          </a:xfrm>
        </p:spPr>
        <p:txBody>
          <a:bodyPr/>
          <a:lstStyle/>
          <a:p>
            <a:fld id="{FEBD7F86-1881-4698-8703-FB80B0800997}" type="slidenum">
              <a:rPr lang="en-GB" sz="1400" b="0" smtClean="0">
                <a:latin typeface="Georgia" panose="02040502050405020303" pitchFamily="18" charset="0"/>
              </a:rPr>
              <a:pPr/>
              <a:t>7</a:t>
            </a:fld>
            <a:endParaRPr lang="en-GB" sz="1400" b="0" dirty="0">
              <a:latin typeface="Georgia" panose="02040502050405020303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1077F77-6FFC-48B2-9EF8-F5A93527834A}"/>
              </a:ext>
            </a:extLst>
          </p:cNvPr>
          <p:cNvSpPr/>
          <p:nvPr/>
        </p:nvSpPr>
        <p:spPr bwMode="auto">
          <a:xfrm>
            <a:off x="0" y="3364282"/>
            <a:ext cx="8808645" cy="21602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DD4522-1DA6-68D3-E0C2-99926E6678DA}"/>
              </a:ext>
            </a:extLst>
          </p:cNvPr>
          <p:cNvSpPr/>
          <p:nvPr/>
        </p:nvSpPr>
        <p:spPr bwMode="auto">
          <a:xfrm>
            <a:off x="27227" y="4914025"/>
            <a:ext cx="8808645" cy="21602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505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CF5A9-5194-47D8-BF81-DFB17922AC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9626" y="975663"/>
          <a:ext cx="1136" cy="11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CF5A9-5194-47D8-BF81-DFB17922A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9626" y="975663"/>
                        <a:ext cx="1136" cy="11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A3CCE8E5-8303-4F22-9282-0A5FF3514740}"/>
              </a:ext>
            </a:extLst>
          </p:cNvPr>
          <p:cNvSpPr/>
          <p:nvPr/>
        </p:nvSpPr>
        <p:spPr bwMode="ltGray">
          <a:xfrm>
            <a:off x="295712" y="5724094"/>
            <a:ext cx="302753" cy="15625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50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57CD93-2FBB-47CF-9630-18E92D823A06}"/>
              </a:ext>
            </a:extLst>
          </p:cNvPr>
          <p:cNvSpPr/>
          <p:nvPr/>
        </p:nvSpPr>
        <p:spPr bwMode="ltGray">
          <a:xfrm>
            <a:off x="395951" y="5724094"/>
            <a:ext cx="202514" cy="131886"/>
          </a:xfrm>
          <a:prstGeom prst="rect">
            <a:avLst/>
          </a:prstGeom>
          <a:solidFill>
            <a:schemeClr val="bg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69958" eaLnBrk="1" fontAlgn="auto" hangingPunct="1">
              <a:spcBef>
                <a:spcPts val="0"/>
              </a:spcBef>
              <a:spcAft>
                <a:spcPts val="0"/>
              </a:spcAft>
            </a:pPr>
            <a:endParaRPr lang="el-GR" sz="1319" b="0" dirty="0" err="1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F3B5CD-2807-4609-BC0B-29A0FD44CB2D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08488" y="974524"/>
            <a:ext cx="113633" cy="113633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544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E" sz="859" b="0" dirty="0">
              <a:solidFill>
                <a:srgbClr val="FFFFFF"/>
              </a:solidFill>
              <a:latin typeface="Helvetica Neue Light" panose="02000403000000020004"/>
              <a:sym typeface="Helvetica Neue Light" panose="02000403000000020004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B49FCA60-9D65-4BDC-9E6E-DB90CEADA0F0}"/>
              </a:ext>
            </a:extLst>
          </p:cNvPr>
          <p:cNvSpPr txBox="1">
            <a:spLocks/>
          </p:cNvSpPr>
          <p:nvPr/>
        </p:nvSpPr>
        <p:spPr>
          <a:xfrm>
            <a:off x="488359" y="1085563"/>
            <a:ext cx="8320286" cy="199496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54482" fontAlgn="auto">
              <a:spcAft>
                <a:spcPts val="0"/>
              </a:spcAft>
              <a:defRPr/>
            </a:pPr>
            <a:r>
              <a:rPr lang="en-US" altLang="fi-FI" sz="1429" dirty="0">
                <a:solidFill>
                  <a:srgbClr val="000000"/>
                </a:solidFill>
                <a:latin typeface="Georgia"/>
              </a:rPr>
              <a:t>3.2 Current Progress of OCW applications by Stage for Bank Portfolios</a:t>
            </a:r>
            <a:endParaRPr lang="el-GR" altLang="fi-FI" sz="1429" dirty="0">
              <a:solidFill>
                <a:srgbClr val="000000"/>
              </a:solidFill>
              <a:latin typeface="Georgia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2C895BC-4D01-D855-22DC-B8A2FB0A26DB}"/>
              </a:ext>
            </a:extLst>
          </p:cNvPr>
          <p:cNvSpPr txBox="1">
            <a:spLocks/>
          </p:cNvSpPr>
          <p:nvPr/>
        </p:nvSpPr>
        <p:spPr>
          <a:xfrm>
            <a:off x="7355241" y="5621666"/>
            <a:ext cx="1263236" cy="981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482" fontAlgn="auto">
              <a:spcBef>
                <a:spcPts val="0"/>
              </a:spcBef>
              <a:spcAft>
                <a:spcPts val="0"/>
              </a:spcAft>
              <a:defRPr/>
            </a:pPr>
            <a:fld id="{7870704B-CE94-48CC-AF30-84932A1262A7}" type="slidenum">
              <a:rPr lang="en-GB" sz="537" b="0">
                <a:solidFill>
                  <a:srgbClr val="000000"/>
                </a:solidFill>
                <a:latin typeface="Arial"/>
              </a:rPr>
              <a:pPr defTabSz="654482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en-GB" sz="573" b="0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38248DA-4C2F-9A1D-19A9-15DD703766C3}"/>
              </a:ext>
            </a:extLst>
          </p:cNvPr>
          <p:cNvSpPr txBox="1"/>
          <p:nvPr/>
        </p:nvSpPr>
        <p:spPr>
          <a:xfrm>
            <a:off x="259864" y="5783470"/>
            <a:ext cx="684068" cy="9169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596" b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wC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A38CB8-DDDB-9C93-B3F0-1FB9092973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344436"/>
            <a:ext cx="9143999" cy="4258048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7524328" y="6525344"/>
            <a:ext cx="1440159" cy="216024"/>
          </a:xfrm>
        </p:spPr>
        <p:txBody>
          <a:bodyPr/>
          <a:lstStyle/>
          <a:p>
            <a:fld id="{FEBD7F86-1881-4698-8703-FB80B0800997}" type="slidenum">
              <a:rPr lang="en-GB" sz="1400" b="0" smtClean="0"/>
              <a:pPr/>
              <a:t>8</a:t>
            </a:fld>
            <a:endParaRPr lang="en-GB" sz="1400" b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61CD8A-156A-13B6-78B3-0C025A3E36ED}"/>
              </a:ext>
            </a:extLst>
          </p:cNvPr>
          <p:cNvSpPr/>
          <p:nvPr/>
        </p:nvSpPr>
        <p:spPr bwMode="auto">
          <a:xfrm>
            <a:off x="0" y="3364282"/>
            <a:ext cx="8808645" cy="21602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1EC556-1BA1-0786-5155-5634E9EC274E}"/>
              </a:ext>
            </a:extLst>
          </p:cNvPr>
          <p:cNvSpPr/>
          <p:nvPr/>
        </p:nvSpPr>
        <p:spPr bwMode="auto">
          <a:xfrm>
            <a:off x="9762" y="4862034"/>
            <a:ext cx="8808645" cy="216024"/>
          </a:xfrm>
          <a:prstGeom prst="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4642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CF5A9-5194-47D8-BF81-DFB17922AC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9626" y="975663"/>
          <a:ext cx="1136" cy="11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CF5A9-5194-47D8-BF81-DFB17922AC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09626" y="975663"/>
                        <a:ext cx="1136" cy="11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6F3B5CD-2807-4609-BC0B-29A0FD44CB2D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08488" y="974524"/>
            <a:ext cx="113633" cy="113633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5448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E" sz="859" b="0" dirty="0">
              <a:solidFill>
                <a:srgbClr val="FFFFFF"/>
              </a:solidFill>
              <a:latin typeface="Helvetica Neue Light" panose="02000403000000020004"/>
              <a:sym typeface="Helvetica Neue Light" panose="02000403000000020004"/>
            </a:endParaRPr>
          </a:p>
        </p:txBody>
      </p:sp>
      <p:sp>
        <p:nvSpPr>
          <p:cNvPr id="522" name="TextBox 521">
            <a:extLst>
              <a:ext uri="{FF2B5EF4-FFF2-40B4-BE49-F238E27FC236}">
                <a16:creationId xmlns:a16="http://schemas.microsoft.com/office/drawing/2014/main" id="{9BEC1A20-8431-4E5B-BA0D-C9288AC94BAD}"/>
              </a:ext>
            </a:extLst>
          </p:cNvPr>
          <p:cNvSpPr txBox="1"/>
          <p:nvPr/>
        </p:nvSpPr>
        <p:spPr bwMode="auto">
          <a:xfrm>
            <a:off x="322660" y="2784226"/>
            <a:ext cx="3692129" cy="33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</a:pPr>
            <a:r>
              <a:rPr lang="en-US" sz="750" kern="0" dirty="0">
                <a:solidFill>
                  <a:srgbClr val="000000"/>
                </a:solidFill>
                <a:latin typeface="Arial"/>
              </a:rPr>
              <a:t>applications in multilateral restructuring  </a:t>
            </a:r>
          </a:p>
          <a:p>
            <a:pPr defTabSz="629961" eaLnBrk="1" hangingPunct="1">
              <a:spcAft>
                <a:spcPts val="0"/>
              </a:spcAft>
            </a:pPr>
            <a:r>
              <a:rPr lang="en-US" sz="750" b="0" i="1" kern="0" dirty="0">
                <a:solidFill>
                  <a:srgbClr val="000000"/>
                </a:solidFill>
                <a:latin typeface="Arial"/>
              </a:rPr>
              <a:t>January 2024 up to September 2024</a:t>
            </a:r>
            <a:endParaRPr lang="el-GR" sz="750" b="0" i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Slide Number Placeholder 2">
            <a:extLst>
              <a:ext uri="{FF2B5EF4-FFF2-40B4-BE49-F238E27FC236}">
                <a16:creationId xmlns:a16="http://schemas.microsoft.com/office/drawing/2014/main" id="{C0FB74A5-E6E9-449C-B41E-709B3F80F435}"/>
              </a:ext>
            </a:extLst>
          </p:cNvPr>
          <p:cNvSpPr txBox="1">
            <a:spLocks/>
          </p:cNvSpPr>
          <p:nvPr/>
        </p:nvSpPr>
        <p:spPr>
          <a:xfrm>
            <a:off x="7355241" y="5621666"/>
            <a:ext cx="1263236" cy="981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54482" fontAlgn="auto">
              <a:spcBef>
                <a:spcPts val="0"/>
              </a:spcBef>
              <a:spcAft>
                <a:spcPts val="0"/>
              </a:spcAft>
              <a:defRPr/>
            </a:pPr>
            <a:fld id="{7870704B-CE94-48CC-AF30-84932A1262A7}" type="slidenum">
              <a:rPr lang="en-GB" sz="537" b="0">
                <a:solidFill>
                  <a:srgbClr val="000000"/>
                </a:solidFill>
                <a:latin typeface="Arial"/>
              </a:rPr>
              <a:pPr defTabSz="654482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GB" sz="573" b="0" dirty="0">
              <a:solidFill>
                <a:srgbClr val="000000"/>
              </a:solidFill>
              <a:latin typeface="Georgia"/>
              <a:cs typeface="Arial" pitchFamily="34" charset="0"/>
            </a:endParaRPr>
          </a:p>
        </p:txBody>
      </p:sp>
      <p:graphicFrame>
        <p:nvGraphicFramePr>
          <p:cNvPr id="361" name="Chart 360">
            <a:extLst>
              <a:ext uri="{FF2B5EF4-FFF2-40B4-BE49-F238E27FC236}">
                <a16:creationId xmlns:a16="http://schemas.microsoft.com/office/drawing/2014/main" id="{79850B6A-75A6-A1DE-C9CC-C2C0C8627DF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290513" y="1853803"/>
          <a:ext cx="8480822" cy="746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304" name="Text Placeholder 2">
            <a:extLst>
              <a:ext uri="{FF2B5EF4-FFF2-40B4-BE49-F238E27FC236}">
                <a16:creationId xmlns:a16="http://schemas.microsoft.com/office/drawing/2014/main" id="{B1BC93C8-6769-4370-A5B9-D5DC9706423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5806" y="2495550"/>
            <a:ext cx="161925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72CD9637-F667-445D-84A7-006FD52A0607}" type="datetime'''''''''''''''''''''J''''''''''''''''''''''''''''''an''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Jan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5" name="Text Placeholder 2">
            <a:extLst>
              <a:ext uri="{FF2B5EF4-FFF2-40B4-BE49-F238E27FC236}">
                <a16:creationId xmlns:a16="http://schemas.microsoft.com/office/drawing/2014/main" id="{F9E390B4-AB6D-4D33-8369-17D26F4BC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59731" y="2495550"/>
            <a:ext cx="172641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4C8496B5-CF69-4856-AEE6-715A2793ECE4}" type="datetime'F''e''''b''''''''''''''''''''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Feb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6" name="Text Placeholder 2">
            <a:extLst>
              <a:ext uri="{FF2B5EF4-FFF2-40B4-BE49-F238E27FC236}">
                <a16:creationId xmlns:a16="http://schemas.microsoft.com/office/drawing/2014/main" id="{49C93B9A-AB59-4DFF-A7EE-EE1881BD4E9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87229" y="2495550"/>
            <a:ext cx="173831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98FD19CB-0AE0-459C-B9AD-4F00C4B23341}" type="datetime'''''''''''''''''''''''''''Ma''''''''''''''''''r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Mar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3" name="Text Placeholder 2">
            <a:extLst>
              <a:ext uri="{FF2B5EF4-FFF2-40B4-BE49-F238E27FC236}">
                <a16:creationId xmlns:a16="http://schemas.microsoft.com/office/drawing/2014/main" id="{A229A944-D86B-4D53-8894-758155043705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24250" y="2495550"/>
            <a:ext cx="157163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EEC8FFF5-24CE-48A1-94F7-2D92D03D4826}" type="datetime'''''''''''''''''''''''''''A''p''''''r''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Apr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4" name="Text Placeholder 2">
            <a:extLst>
              <a:ext uri="{FF2B5EF4-FFF2-40B4-BE49-F238E27FC236}">
                <a16:creationId xmlns:a16="http://schemas.microsoft.com/office/drawing/2014/main" id="{F5A05DA1-A662-48B1-A5E7-5D84D06BA5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436269" y="2495550"/>
            <a:ext cx="189310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F7BE9226-A526-4034-B3FC-CB8B9BFFEE9B}" type="datetime'''''M''''''''''''''''''''''''a''''''''''''''''''y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May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5" name="Text Placeholder 2">
            <a:extLst>
              <a:ext uri="{FF2B5EF4-FFF2-40B4-BE49-F238E27FC236}">
                <a16:creationId xmlns:a16="http://schemas.microsoft.com/office/drawing/2014/main" id="{5CBF379C-5B52-4BDD-A31B-7866B77323E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78054" y="2495550"/>
            <a:ext cx="161925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15EAB4D1-B0D2-4EE9-AA98-6583E6E2DC8C}" type="datetime'''''''''''''''J''''''u''''''''''''''n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Jun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6" name="Text Placeholder 2">
            <a:extLst>
              <a:ext uri="{FF2B5EF4-FFF2-40B4-BE49-F238E27FC236}">
                <a16:creationId xmlns:a16="http://schemas.microsoft.com/office/drawing/2014/main" id="{3DD6B0E4-9A32-443D-A6F6-251EBFDC7BD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322219" y="2495550"/>
            <a:ext cx="130969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0B3EAEFF-41E5-4082-84FA-29FD77A499D5}" type="datetime'''''J''u''''''''''''l''''''''''''''''''''''''''''''''''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Jul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7" name="Text Placeholder 2">
            <a:extLst>
              <a:ext uri="{FF2B5EF4-FFF2-40B4-BE49-F238E27FC236}">
                <a16:creationId xmlns:a16="http://schemas.microsoft.com/office/drawing/2014/main" id="{F35F5782-53EB-4B0C-AEE8-AA8EF27406B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28285" y="2495550"/>
            <a:ext cx="177404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2038C4F3-BF30-4D01-A214-24B035B69809}" type="datetime'''''''''''A''''''''''''''u''''''''''''g''''''''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Aug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8" name="Text Placeholder 2">
            <a:extLst>
              <a:ext uri="{FF2B5EF4-FFF2-40B4-BE49-F238E27FC236}">
                <a16:creationId xmlns:a16="http://schemas.microsoft.com/office/drawing/2014/main" id="{978EFAE6-D717-4034-818B-6325E046C0A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56972" y="2495550"/>
            <a:ext cx="177404" cy="11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Tx/>
              <a:buFontTx/>
              <a:buNone/>
              <a:tabLst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104893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209785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314678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419571" indent="-104893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Font typeface="Georgia" pitchFamily="18" charset="0"/>
              <a:buChar char="›"/>
              <a:defRPr sz="1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01694" marR="0" indent="-201694" algn="l" defTabSz="898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03386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alpha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05079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SzPct val="100000"/>
              <a:buFont typeface="+mj-lt"/>
              <a:buAutoNum type="romanLcPeriod"/>
              <a:defRPr sz="971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01694" algn="l" defTabSz="898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itchFamily="34" charset="0"/>
              <a:buNone/>
              <a:defRPr sz="971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indent="0" algn="ctr" defTabSz="658605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fld id="{B4C1E443-3695-474C-8F86-1F6C70B934EE}" type="datetime'''''''''''''''''S''''''''e''''''''''''''''''p'''''''''''''''''">
              <a:rPr lang="en-US" altLang="en-US" sz="750" b="0">
                <a:solidFill>
                  <a:srgbClr val="000000"/>
                </a:solidFill>
                <a:latin typeface="Arial"/>
              </a:rPr>
              <a:pPr indent="0" algn="ctr" defTabSz="658605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t>Sep</a:t>
            </a:fld>
            <a:endParaRPr lang="el-GR" sz="75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1036E1F-EBD4-4D1F-8208-1E07731A1963}"/>
              </a:ext>
            </a:extLst>
          </p:cNvPr>
          <p:cNvSpPr txBox="1"/>
          <p:nvPr/>
        </p:nvSpPr>
        <p:spPr bwMode="auto">
          <a:xfrm>
            <a:off x="322660" y="1535907"/>
            <a:ext cx="7155656" cy="33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</a:pPr>
            <a:r>
              <a:rPr lang="en-US" sz="750" kern="0" dirty="0">
                <a:solidFill>
                  <a:srgbClr val="000000"/>
                </a:solidFill>
                <a:latin typeface="Arial"/>
              </a:rPr>
              <a:t># applications submitted </a:t>
            </a:r>
          </a:p>
          <a:p>
            <a:pPr defTabSz="629961" eaLnBrk="1" hangingPunct="1">
              <a:spcAft>
                <a:spcPts val="0"/>
              </a:spcAft>
            </a:pPr>
            <a:r>
              <a:rPr lang="en-US" sz="750" b="0" i="1" kern="0" dirty="0">
                <a:solidFill>
                  <a:srgbClr val="000000"/>
                </a:solidFill>
                <a:latin typeface="Arial"/>
              </a:rPr>
              <a:t>January 2024 up to September 2024</a:t>
            </a:r>
            <a:endParaRPr lang="el-GR" sz="750" b="0" i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495730-AA40-240A-86A6-E954466CBCA7}"/>
              </a:ext>
            </a:extLst>
          </p:cNvPr>
          <p:cNvSpPr txBox="1">
            <a:spLocks/>
          </p:cNvSpPr>
          <p:nvPr/>
        </p:nvSpPr>
        <p:spPr>
          <a:xfrm>
            <a:off x="488359" y="1085563"/>
            <a:ext cx="8191814" cy="246257"/>
          </a:xfrm>
          <a:prstGeom prst="rect">
            <a:avLst/>
          </a:prstGeom>
        </p:spPr>
        <p:txBody>
          <a:bodyPr vert="horz" lIns="0" tIns="0" rIns="0" bIns="0" numCol="1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0" i="0" kern="1200">
                <a:solidFill>
                  <a:schemeClr val="tx1"/>
                </a:solidFill>
                <a:latin typeface="Charter Roman" panose="02040503050506020203" pitchFamily="18" charset="0"/>
                <a:ea typeface="+mj-ea"/>
                <a:cs typeface="+mj-cs"/>
              </a:defRPr>
            </a:lvl1pPr>
          </a:lstStyle>
          <a:p>
            <a:pPr defTabSz="639363" fontAlgn="auto">
              <a:spcAft>
                <a:spcPts val="0"/>
              </a:spcAft>
              <a:defRPr/>
            </a:pPr>
            <a:r>
              <a:rPr lang="en-US" altLang="fi-FI" sz="1429" dirty="0">
                <a:solidFill>
                  <a:srgbClr val="000000"/>
                </a:solidFill>
                <a:latin typeface="Georgia"/>
              </a:rPr>
              <a:t>3</a:t>
            </a:r>
            <a:r>
              <a:rPr lang="el-GR" altLang="fi-FI" sz="1429" dirty="0">
                <a:solidFill>
                  <a:srgbClr val="000000"/>
                </a:solidFill>
                <a:latin typeface="Georgia"/>
              </a:rPr>
              <a:t>.3 OCW </a:t>
            </a:r>
            <a:r>
              <a:rPr lang="en-US" altLang="fi-FI" sz="1429" dirty="0">
                <a:solidFill>
                  <a:srgbClr val="000000"/>
                </a:solidFill>
                <a:latin typeface="Georgia"/>
              </a:rPr>
              <a:t>– monthly application progression</a:t>
            </a:r>
            <a:endParaRPr lang="el-GR" altLang="fi-FI" sz="1429" dirty="0">
              <a:solidFill>
                <a:srgbClr val="000000"/>
              </a:solidFill>
              <a:latin typeface="Georgia"/>
            </a:endParaRPr>
          </a:p>
        </p:txBody>
      </p:sp>
      <p:graphicFrame>
        <p:nvGraphicFramePr>
          <p:cNvPr id="349" name="Table 348">
            <a:extLst>
              <a:ext uri="{FF2B5EF4-FFF2-40B4-BE49-F238E27FC236}">
                <a16:creationId xmlns:a16="http://schemas.microsoft.com/office/drawing/2014/main" id="{C1F5894D-A2ED-9342-41E7-AC4013B36269}"/>
              </a:ext>
            </a:extLst>
          </p:cNvPr>
          <p:cNvGraphicFramePr>
            <a:graphicFrameLocks noGrp="1"/>
          </p:cNvGraphicFramePr>
          <p:nvPr/>
        </p:nvGraphicFramePr>
        <p:xfrm>
          <a:off x="358378" y="3188988"/>
          <a:ext cx="4010027" cy="2423158"/>
        </p:xfrm>
        <a:graphic>
          <a:graphicData uri="http://schemas.openxmlformats.org/drawingml/2006/table">
            <a:tbl>
              <a:tblPr/>
              <a:tblGrid>
                <a:gridCol w="556022">
                  <a:extLst>
                    <a:ext uri="{9D8B030D-6E8A-4147-A177-3AD203B41FA5}">
                      <a16:colId xmlns:a16="http://schemas.microsoft.com/office/drawing/2014/main" val="63819137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4114885774"/>
                    </a:ext>
                  </a:extLst>
                </a:gridCol>
                <a:gridCol w="922735">
                  <a:extLst>
                    <a:ext uri="{9D8B030D-6E8A-4147-A177-3AD203B41FA5}">
                      <a16:colId xmlns:a16="http://schemas.microsoft.com/office/drawing/2014/main" val="2760106043"/>
                    </a:ext>
                  </a:extLst>
                </a:gridCol>
                <a:gridCol w="922735">
                  <a:extLst>
                    <a:ext uri="{9D8B030D-6E8A-4147-A177-3AD203B41FA5}">
                      <a16:colId xmlns:a16="http://schemas.microsoft.com/office/drawing/2014/main" val="2885628694"/>
                    </a:ext>
                  </a:extLst>
                </a:gridCol>
                <a:gridCol w="922735">
                  <a:extLst>
                    <a:ext uri="{9D8B030D-6E8A-4147-A177-3AD203B41FA5}">
                      <a16:colId xmlns:a16="http://schemas.microsoft.com/office/drawing/2014/main" val="3844354958"/>
                    </a:ext>
                  </a:extLst>
                </a:gridCol>
              </a:tblGrid>
              <a:tr h="3198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th</a:t>
                      </a:r>
                      <a:endParaRPr lang="el-GR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046" marR="2046" marT="2046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# Application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Total debt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Debt to State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Debts to Financial Institutions (F.I.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297176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uar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5.303.9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.447.16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.856.75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076668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bruar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.343.99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.640.85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.703.14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97715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ch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7.485.6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728.03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.757.66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46101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ril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9.888.50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282.40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.606.0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024908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.796.54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881.64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2.914.89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149326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e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6.775.63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.932.29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4.843.34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213836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l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4.414.64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.509.60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1.905.04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648447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gust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2.371.1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.616.84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.754.34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379522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ember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1.647.22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.833.80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4.813.42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460045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  <a:endParaRPr lang="el-GR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046" marR="2046" marT="2046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06</a:t>
                      </a:r>
                      <a:endParaRPr lang="el-GR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34.027.35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7.872.65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6.154.70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167569"/>
                  </a:ext>
                </a:extLst>
              </a:tr>
            </a:tbl>
          </a:graphicData>
        </a:graphic>
      </p:graphicFrame>
      <p:sp>
        <p:nvSpPr>
          <p:cNvPr id="362" name="TextBox 361">
            <a:extLst>
              <a:ext uri="{FF2B5EF4-FFF2-40B4-BE49-F238E27FC236}">
                <a16:creationId xmlns:a16="http://schemas.microsoft.com/office/drawing/2014/main" id="{C6FFA5C3-7F13-10FA-BEC9-11CA5B757B95}"/>
              </a:ext>
            </a:extLst>
          </p:cNvPr>
          <p:cNvSpPr txBox="1"/>
          <p:nvPr/>
        </p:nvSpPr>
        <p:spPr bwMode="auto">
          <a:xfrm>
            <a:off x="4775597" y="2784226"/>
            <a:ext cx="3692129" cy="33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49622" rIns="74433" bIns="49622" rtlCol="0" anchor="t" anchorCtr="0">
            <a:spAutoFit/>
          </a:bodyPr>
          <a:lstStyle/>
          <a:p>
            <a:pPr defTabSz="629961" eaLnBrk="1" hangingPunct="1">
              <a:spcAft>
                <a:spcPts val="0"/>
              </a:spcAft>
            </a:pPr>
            <a:r>
              <a:rPr lang="en-US" sz="750" kern="0" dirty="0">
                <a:solidFill>
                  <a:srgbClr val="000000"/>
                </a:solidFill>
                <a:latin typeface="Arial"/>
              </a:rPr>
              <a:t>applications in bilateral restructuring  </a:t>
            </a:r>
          </a:p>
          <a:p>
            <a:pPr defTabSz="629961" eaLnBrk="1" hangingPunct="1">
              <a:spcAft>
                <a:spcPts val="0"/>
              </a:spcAft>
            </a:pPr>
            <a:r>
              <a:rPr lang="en-US" sz="750" b="0" i="1" kern="0" dirty="0">
                <a:solidFill>
                  <a:srgbClr val="000000"/>
                </a:solidFill>
                <a:latin typeface="Arial"/>
              </a:rPr>
              <a:t>January 2024 up to September 2024</a:t>
            </a:r>
            <a:endParaRPr lang="el-GR" sz="750" b="0" i="1" kern="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63" name="Table 362">
            <a:extLst>
              <a:ext uri="{FF2B5EF4-FFF2-40B4-BE49-F238E27FC236}">
                <a16:creationId xmlns:a16="http://schemas.microsoft.com/office/drawing/2014/main" id="{A3DE97CA-F490-DA71-FD49-4AAA6D2F3F5B}"/>
              </a:ext>
            </a:extLst>
          </p:cNvPr>
          <p:cNvGraphicFramePr>
            <a:graphicFrameLocks noGrp="1"/>
          </p:cNvGraphicFramePr>
          <p:nvPr/>
        </p:nvGraphicFramePr>
        <p:xfrm>
          <a:off x="4811316" y="3188988"/>
          <a:ext cx="4010027" cy="2423158"/>
        </p:xfrm>
        <a:graphic>
          <a:graphicData uri="http://schemas.openxmlformats.org/drawingml/2006/table">
            <a:tbl>
              <a:tblPr/>
              <a:tblGrid>
                <a:gridCol w="556022">
                  <a:extLst>
                    <a:ext uri="{9D8B030D-6E8A-4147-A177-3AD203B41FA5}">
                      <a16:colId xmlns:a16="http://schemas.microsoft.com/office/drawing/2014/main" val="63819137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4114885774"/>
                    </a:ext>
                  </a:extLst>
                </a:gridCol>
                <a:gridCol w="922735">
                  <a:extLst>
                    <a:ext uri="{9D8B030D-6E8A-4147-A177-3AD203B41FA5}">
                      <a16:colId xmlns:a16="http://schemas.microsoft.com/office/drawing/2014/main" val="2760106043"/>
                    </a:ext>
                  </a:extLst>
                </a:gridCol>
                <a:gridCol w="922735">
                  <a:extLst>
                    <a:ext uri="{9D8B030D-6E8A-4147-A177-3AD203B41FA5}">
                      <a16:colId xmlns:a16="http://schemas.microsoft.com/office/drawing/2014/main" val="2885628694"/>
                    </a:ext>
                  </a:extLst>
                </a:gridCol>
                <a:gridCol w="922735">
                  <a:extLst>
                    <a:ext uri="{9D8B030D-6E8A-4147-A177-3AD203B41FA5}">
                      <a16:colId xmlns:a16="http://schemas.microsoft.com/office/drawing/2014/main" val="3844354958"/>
                    </a:ext>
                  </a:extLst>
                </a:gridCol>
              </a:tblGrid>
              <a:tr h="31989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th</a:t>
                      </a:r>
                      <a:endParaRPr lang="el-GR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046" marR="2046" marT="2046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# Application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Total debt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Debt to State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FF"/>
                          </a:highlight>
                          <a:latin typeface="Arial" panose="020B0604020202020204" pitchFamily="34" charset="0"/>
                        </a:rPr>
                        <a:t>Debts to Financial Institutions (F.I.)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297176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nuar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0.252.11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59.28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9.492.83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076668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ebruar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1.951.47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77.12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1.874.34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97715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ch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7.402.04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747.91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9.654.12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346101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pril</a:t>
                      </a: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5.347.79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276.21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7.071.58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024908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8.183.52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766.16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1.417.36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149326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ne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7.371.90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662.32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6.709.57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213836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uly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94.735.32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.887.85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3.847.47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648447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gust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0.806.93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26.48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1.380.452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379522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ember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7144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1.619.905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325.85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7.294.04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460045"/>
                  </a:ext>
                </a:extLst>
              </a:tr>
              <a:tr h="210326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  <a:endParaRPr lang="el-GR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046" marR="2046" marT="2046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369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.227.671.021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8.929.218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8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468.741.803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DB536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167569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557875" y="6525345"/>
            <a:ext cx="1524000" cy="320722"/>
          </a:xfrm>
        </p:spPr>
        <p:txBody>
          <a:bodyPr/>
          <a:lstStyle/>
          <a:p>
            <a:fld id="{FEBD7F86-1881-4698-8703-FB80B0800997}" type="slidenum">
              <a:rPr lang="en-GB" sz="1400" b="0" smtClean="0">
                <a:latin typeface="Georgia" panose="02040502050405020303" pitchFamily="18" charset="0"/>
              </a:rPr>
              <a:pPr/>
              <a:t>9</a:t>
            </a:fld>
            <a:endParaRPr lang="en-GB" sz="1400" b="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345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kTnyWFcKrH1Je.0yVx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7r4DqUcK7B6tDxwRBp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sOEzDoVoct.KOBe98OB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Q9OD7BSyZCEcgpYZkqp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iJN.X.Kf_evo689zcn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t91HS8jDFd1yQNXLkDI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b5rOd0KHdddetHkt_2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dkI.6WHTW.yUp8ytmEY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xvTaTefFrBFAqHkV3J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n.eILg5dEBAAMK5aX5N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UBd.J6T8MNpXww98fl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cI15LzfqkpE66wL96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ezrJJbpkLxBapQoR.yg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wTYO1PHpWYpNWceqHC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fHx8ZPvC_6Utdr6Zbq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.LfS3_Hym4PDyDWZVR.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m5QdcHK5RSf9EvZ7yR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82FPkWVKEmxBcuYwjn.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0Qvk8vOUtWglGnR5ctw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l5AX.sfrwOgFqw3d0hJ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6T4kEPHZ6jphYBRMVN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oZ80uX4mafPIwn4lP4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Y9uNgr64z3M3itXVpxU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bpLCl54LlPPgUW7VOci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T.mcv93MzsOyxKpcXl0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R4fRpTZsAqnBkkx_nk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jpZqmGRgdcB2Z4xtmBC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CbIcbOTHv_f7NyVYLPb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JegGLZ2PDSuj9MHn7Y0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mcoqlPHAzywOJRgH_WL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1tCVlqYbnao5mEFqac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De7KZvDE.V0bBb9m7R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R_KrUI41BBBWgRe4iQ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7A__NO20srb74.ZmJyz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eXUDFnOp97Mcd2Rpvtu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bC.Dkee5cPZmNd5ggvI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f5a0sw95CvuzVFaV2Ek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Lard3yMY6TgEfZwKqb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xfuENfaYTR.s33NLJ6v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1Md4E1fXPNQ2wTU84Vx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Gdt9aL0OQ25zO9zxMWL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koxWCs9R1FOHfpz5Sn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biYYbhLos8I0IogBm0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sze1jFwFwmTK_Y0BZc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CTQMpK43LZ_diOozGQk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DGeigwXZVGGpwRopsH.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j_64XvtKuVAJyOO33Y6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yUsbLFsUMw76G6d7BQ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zZwZhjWNPCUt9CXKIi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J0ikBn1Fu2TWCjKnMk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lxHU0mYmd8R_oz3qWI9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qYb7IOc36Otp6FYusT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Nwet6qRMKtn.wJxkUq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S1V.oYQRL9Nd6I15JR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3lkWMmybJ0syNprnT_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aV8MXA_EhyXfexhgpxn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bn3reSkckwMLvM3RIT.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yJiMaGZDxGR3NsaJmR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OnUyuk_tO_OPLhJtvk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2PB3rVtRGXn.2pl8DGM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fGm624w.wMNuO_8Wei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uJ0cy5LAMS9mgo0s_pw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a76NsmUsOpYOPWrPXSD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QpCcoJMx7deMKobIbG2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hAr1g4Zdgxbx9uBW8O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FKyx05Zqhh6HiT33Om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9CqiLsfpEvQmtEbBFr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I4nxNhfXHH9qwVVuVPb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6xPGt9rsiUmnNk_dhFs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QBEC3n6Pwt5o1nWuks8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79MN5iSYScdeJLYCtP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Xfira2JbLbh._uclOO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kHTfnxJ6whNRlpQae.C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8iPR_C54VH4fHWQsOQa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RSOF3MoUpfkWKGykEb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ZyE.zZbHhBtoJyA51c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JanC5gIP3yoyreVlmb7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xtyl9jQ9JGo51ModrUC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dlOorJbvN0Ms._IAG7b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fGVwN5LP1zk0q2mjrer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LJezOnEb3znXDQ.23P6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Z2CqbIY5xFtSv7e8yMo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Wzzp_8HxmxjP0wbfUhM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Z5Slqfe24Gw57_VbsXV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4F0YlUcYCuXkwBLfpPh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67.6liwz7uqL_vOi5OK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48TnVjYFS3U_NKIF2e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4kQiiX8mTliTV9ZdiLv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Iea9y7Nef15LFexUYnd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2txTRxvj2CQhJnJKNs.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OrESBz9hNuY3evLndZd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1fHo.Dub5R8eF5qoc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y7nXElq4.Upc2gUgRGR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45u7iTIvKJno5gIqU6F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ohKAemGTrhZv_HvRpng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a7ENoEhNWetiYWBy5Gi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smBO486jQ4bUNCAURJy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Q4FyH0e_P7sIxJPtW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2WRCBz66S5nupmTxqrE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5z9JAE856cR9yf8ImBW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vIf0j1xsYUJAndjlO0a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DJtn8ocuyOly42pBPlU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Qx9ilQzvevSWez.Uq_F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o4jDpzxPG6ZBw8OpTQe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0MjsetvQ0HKcmMPCpyC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1jJnJUaqavzH9vTMRJC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4id2Vfbo2rgOaYM_0Tz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olYepehmA80o8ZN3ArD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6xmj9a_ONkZfMsJu6D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A3O9n.UQszAdbgjY1vW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mOTS2u1zacNpDdfV5BX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JPI.XNlE1tPNv8vUUrI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YHzStDge9TPqaW_xB3A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qGCu1Lo6VcclRp5.FEb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GR0FnNVqQfwq8XEm8rM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syyscgOeK3YPxt_bmRM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skVpA6NvE6A1einyBo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dewvCoDj0sXi4ERzf98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yswkkQIIqCa4i1mGp3D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WBe0zwGVEUkr4B2ePM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Ivv94iGoV5VPots940N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hZ5tAxmNIJrf0YLppye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IHOcLEIKEvEH4GBHIdc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3ZN.FT0Si_W.B02D_Jm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wXao9MOqdVvvX454df9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bV86z8h1lJPb1ieAekQ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EREO.2S3OplVYoXLBCs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JfzgoyflPnSMYSOpIio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CUq3DVV3UmXo4AtvbCa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L2amGWhQMPptjYmPdw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GP6.sfwWjfeEvTbHeV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0Jw2hZdKnKB3KPOygup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YajnQCYnRM5DkT64aDc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cseA3MsGB2fN.U1L4z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BSHwiPfBgpR7jU0Ro8S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S1V.oYQRL9Nd6I15JR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KsWLTE3gLupExzcq27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dXwG9WQEmcDnf4B7G8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wtbsy8W6N38THWUFcP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QdM2xmhUC_PNwdL7OU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mNvwTdEZLp3upPdofn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e9v4w6_hJESwf5RFLY_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079xl299ovQcicUkVf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jqSPxU3v0BPwqdhgU3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zIvCWBpqTaG478KpOt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8dib7LOnImt0bEaGF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Nwet6qRMKtn.wJxkU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_dDTI.mdIKtG4HFnO.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Kd.9tN9OrcOsltAsY8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U2Zioho7hX_ZOOjmvw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bXKEqCjT0Ys1J_EjM2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SreXJeCrH8bB8ru3Ld7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DshYW2Wc9jSEaEJc.w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2ceh9TJ_jGUF32fT6Y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ogxo8kMuWlscAOtqzf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SnwVVuY34uTAT.KmJF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qdWO43UnD19uj4nHQ0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TK9q8qUav09_iNAgW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8RfbyMPW0ewQU2k7Df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lR9b2K3K9jSsOpkQG90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XmLT1jh3TXt2If7Zle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35iA7VBVRtHqubwp2aR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Rw7AumcxvT6O9FmyDD1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kzv0WsPU3N78hqjNAB3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fbHo.ecoPAndVji8t8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iSxDCAsdme7jyVNmAX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rNHMtjXkdpjM8HU_id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Ns4e8FdQBZPf94CVyV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riFTkF6z0C.jbgBEX9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nTaAL0SCf_WMzA92jb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KBAxh7L0lY8tgcycY0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L3IIyF3Mtt1HYQEh_01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DtANOKMj4XxWTFOaMNm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7jwgcPY0sCC12q3sir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kXtGdjNVVADD5CKlMw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8q_G1kj2EAN5jNSS2DS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SYqTw5QGKmztVTQdTJ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gpSluLkImBiTDP4Btj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V.pyQrmnUEpoeoVoYV1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bfAMGxYB0Q4yUsTXn8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JD43ivjdn.Tk3iXuah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3xea3ftnpfPM4a6USmm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GIUFo0GF2GFN_xg44M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W_4q.DcQSGBo_jeffb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X9alBqTgTv.Mqa5NsH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Duhg6Kt39Tae7JrhHH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LUPOWqept07PJejfCh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.qYA6rvMsoaCxn4ckH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686OYVQ6_.hM80UE.7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iDhaQh50khtm9umbzG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ZOShaxVSQ0SSplqQKe9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0PJJRqDzP2rH3gyQVb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2IzPH7J42eK1Zxee3W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PWoxnB2yFpQ_FJIwRN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x.zfD5F98gC.tQrTDv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dCU0eue7nPmhk5_j3w1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Ru5LN4HLNM01KSU6x_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xUJSnuxLrVE2UYw4Y9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Nwet6qRMKtn.wJxkU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im5fxzs6xUpxLpWSKBj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Nwet6qRMKtn.wJxkU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Nwet6qRMKtn.wJxkU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fEeMUiKASb1099GLgh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ldgOEgZWKwMXB3MkR5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335H99Z0SWQ68MEKqw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etO6O_Xe3fvh7Uy2zx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bfQDX5IMMphVYa2hRh3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Ie2aHCpASg9CxPKsWFF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JDBGWJCWzyUn4f.9xv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CrhmOVZ7tf463vq2G7L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ZCLJmd2veo5UicoP9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g1f3IN82zhkBUIP_rY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tCNbc6HxH6MAYLCISF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5Nwet6qRMKtn.wJxkU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SEVOkI_w5_9qBrwfFwz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IdcLI_dTZjWvbFxIaGz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6REmhaL8CjNSQwmfio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9dwt7KGpamLanGM98Sx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owzz0ZLtRGsJSbhmJV4w"/>
</p:tagLst>
</file>

<file path=ppt/theme/theme1.xml><?xml version="1.0" encoding="utf-8"?>
<a:theme xmlns:a="http://schemas.openxmlformats.org/drawingml/2006/main" name="Προεπιλεγμένη σχεδίαση">
  <a:themeElements>
    <a:clrScheme name="Προεπιλεγμένη σχεδίαση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Προεπιλεγμένη σχεδίαση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l-GR" altLang="el-GR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l-GR" altLang="el-GR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Προεπιλεγμένη σχεδίαση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Προεπιλεγμένη σχεδίαση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Προεπιλεγμένη σχεδίαση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Προεπιλεγμένη σχεδίαση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Προεπιλεγμένη σχεδίαση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Προεπιλεγμένη σχεδίαση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Προεπιλεγμένη σχεδίαση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BA-En.ppt [Compatibility Mode]" id="{E1D4511F-7C09-4041-9C0A-55F7969BEAB4}" vid="{14A76AE3-30EE-4D0E-95EC-1F2772FB154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wC Rose">
    <a:dk1>
      <a:srgbClr val="000000"/>
    </a:dk1>
    <a:lt1>
      <a:srgbClr val="FFFFFF"/>
    </a:lt1>
    <a:dk2>
      <a:srgbClr val="DB536A"/>
    </a:dk2>
    <a:lt2>
      <a:srgbClr val="FFFFFF"/>
    </a:lt2>
    <a:accent1>
      <a:srgbClr val="DB536A"/>
    </a:accent1>
    <a:accent2>
      <a:srgbClr val="602320"/>
    </a:accent2>
    <a:accent3>
      <a:srgbClr val="E0301E"/>
    </a:accent3>
    <a:accent4>
      <a:srgbClr val="A32020"/>
    </a:accent4>
    <a:accent5>
      <a:srgbClr val="FFB600"/>
    </a:accent5>
    <a:accent6>
      <a:srgbClr val="DC6900"/>
    </a:accent6>
    <a:hlink>
      <a:srgbClr val="DB536A"/>
    </a:hlink>
    <a:folHlink>
      <a:srgbClr val="DB536A"/>
    </a:folHlink>
  </a:clrScheme>
  <a:fontScheme name="PwC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HBA-En</Template>
  <TotalTime>3131</TotalTime>
  <Words>941</Words>
  <Application>Microsoft Office PowerPoint</Application>
  <PresentationFormat>On-screen Show (4:3)</PresentationFormat>
  <Paragraphs>405</Paragraphs>
  <Slides>1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ＭＳ Ｐゴシック</vt:lpstr>
      <vt:lpstr>Arial</vt:lpstr>
      <vt:lpstr>Calibri</vt:lpstr>
      <vt:lpstr>Century Gothic</vt:lpstr>
      <vt:lpstr>Courier New</vt:lpstr>
      <vt:lpstr>Georgia</vt:lpstr>
      <vt:lpstr>Helvetica Neue Light</vt:lpstr>
      <vt:lpstr>Times New Roman</vt:lpstr>
      <vt:lpstr>Wingdings</vt:lpstr>
      <vt:lpstr>Προεπιλεγμένη σχεδίαση</vt:lpstr>
      <vt:lpstr>think-cell Slide</vt:lpstr>
      <vt:lpstr>5th PPS financial sector technical mission October 2024 - HBA meeting</vt:lpstr>
      <vt:lpstr>1. Lending activity and trends (including medium term projections), incl. SME financing and PRP-related lending projections </vt:lpstr>
      <vt:lpstr>1.1 Lending activity and trends (including medium term projections), incl. SME financing and PRP-related lending projections</vt:lpstr>
      <vt:lpstr>2. Electronic Platform for applications’  L. 3869/10 resubmission (L. 4745/20)  </vt:lpstr>
      <vt:lpstr>PowerPoint Presentation</vt:lpstr>
      <vt:lpstr>3. OCW (L. 4738/2020)  </vt:lpstr>
      <vt:lpstr>PowerPoint Presentation</vt:lpstr>
      <vt:lpstr>PowerPoint Presentation</vt:lpstr>
      <vt:lpstr>PowerPoint Presentation</vt:lpstr>
      <vt:lpstr>4. Large &amp; small scale bankruptcy (L. 4738/2020)  </vt:lpstr>
      <vt:lpstr>PowerPoint Presentation</vt:lpstr>
      <vt:lpstr>5. Vulnerable debtor certification  (L. 4738/2020)  </vt:lpstr>
      <vt:lpstr>PowerPoint Presentation</vt:lpstr>
      <vt:lpstr> 6. State subsidy for vulnerable debtors </vt:lpstr>
      <vt:lpstr>PowerPoint Presentation</vt:lpstr>
      <vt:lpstr>7. Update on e-auctions data  </vt:lpstr>
      <vt:lpstr>E-auctions key figures  </vt:lpstr>
      <vt:lpstr> E-auctions estimation – Q4 2024  </vt:lpstr>
    </vt:vector>
  </TitlesOfParts>
  <Company>e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sfilippaki</dc:creator>
  <cp:lastModifiedBy>Charikleia Apalagaki</cp:lastModifiedBy>
  <cp:revision>192</cp:revision>
  <cp:lastPrinted>2024-10-02T07:02:55Z</cp:lastPrinted>
  <dcterms:created xsi:type="dcterms:W3CDTF">2019-09-12T15:02:04Z</dcterms:created>
  <dcterms:modified xsi:type="dcterms:W3CDTF">2024-10-03T12:58:25Z</dcterms:modified>
</cp:coreProperties>
</file>